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80" r:id="rId2"/>
    <p:sldId id="256" r:id="rId3"/>
    <p:sldId id="265" r:id="rId4"/>
    <p:sldId id="264" r:id="rId5"/>
    <p:sldId id="266" r:id="rId6"/>
    <p:sldId id="257" r:id="rId7"/>
    <p:sldId id="267" r:id="rId8"/>
    <p:sldId id="268" r:id="rId9"/>
    <p:sldId id="269" r:id="rId10"/>
    <p:sldId id="258" r:id="rId11"/>
    <p:sldId id="279" r:id="rId12"/>
    <p:sldId id="275" r:id="rId13"/>
    <p:sldId id="277" r:id="rId14"/>
    <p:sldId id="278" r:id="rId15"/>
  </p:sldIdLst>
  <p:sldSz cx="12192000" cy="6858000"/>
  <p:notesSz cx="6858000" cy="9144000"/>
  <p:custDataLst>
    <p:tags r:id="rId17"/>
  </p:custDataLst>
  <p:defaultTextStyle>
    <a:defPPr>
      <a:defRPr lang="en-US">
        <a:effectLst/>
      </a:defRPr>
    </a:defPPr>
    <a:lvl1pPr marL="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CDCD"/>
    <a:srgbClr val="3A97B6"/>
    <a:srgbClr val="E9E9E9"/>
    <a:srgbClr val="575858"/>
    <a:srgbClr val="8D8868"/>
    <a:srgbClr val="4C5858"/>
    <a:srgbClr val="AEB3AD"/>
    <a:srgbClr val="94786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88389" autoAdjust="0"/>
  </p:normalViewPr>
  <p:slideViewPr>
    <p:cSldViewPr snapToGrid="0">
      <p:cViewPr varScale="1">
        <p:scale>
          <a:sx n="57" d="100"/>
          <a:sy n="57" d="100"/>
        </p:scale>
        <p:origin x="102" y="9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325C80"/>
            </a:solidFill>
            <a:effectLst/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96DD-41B2-BF14-96E54D360CDD}"/>
              </c:ext>
            </c:extLst>
          </c:dPt>
          <c:dPt>
            <c:idx val="1"/>
            <c:bubble3D val="0"/>
            <c:spPr>
              <a:solidFill>
                <a:srgbClr val="5AAAFA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96DD-41B2-BF14-96E54D360CD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5</c:v>
                </c:pt>
                <c:pt idx="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6DD-41B2-BF14-96E54D360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64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effectLst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325C80"/>
            </a:solidFill>
            <a:effectLst/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3C2F-4A84-80E9-2B7103215E37}"/>
              </c:ext>
            </c:extLst>
          </c:dPt>
          <c:dPt>
            <c:idx val="1"/>
            <c:bubble3D val="0"/>
            <c:spPr>
              <a:solidFill>
                <a:srgbClr val="5AAAFA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3C2F-4A84-80E9-2B7103215E3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5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2F-4A84-80E9-2B7103215E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6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effectLst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325C80"/>
            </a:solidFill>
            <a:effectLst/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F5C-455C-8BB7-F3FAD41A255E}"/>
              </c:ext>
            </c:extLst>
          </c:dPt>
          <c:dPt>
            <c:idx val="1"/>
            <c:bubble3D val="0"/>
            <c:spPr>
              <a:solidFill>
                <a:srgbClr val="5AAAFA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DF5C-455C-8BB7-F3FAD41A255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1</c:v>
                </c:pt>
                <c:pt idx="1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5C-455C-8BB7-F3FAD41A25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05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effectLst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325C80"/>
            </a:solidFill>
            <a:effectLst/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EB46-4FF4-AADF-F4CFBEC242D7}"/>
              </c:ext>
            </c:extLst>
          </c:dPt>
          <c:dPt>
            <c:idx val="1"/>
            <c:bubble3D val="0"/>
            <c:spPr>
              <a:solidFill>
                <a:srgbClr val="5AAAFA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EB46-4FF4-AADF-F4CFBEC242D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1</c:v>
                </c:pt>
                <c:pt idx="1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B46-4FF4-AADF-F4CFBEC242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05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effectLst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  <a:effectLst/>
        </p:spPr>
        <p:txBody>
          <a:bodyPr vert="horz" lIns="91440" tIns="45720" rIns="91440" bIns="45720" rtlCol="0"/>
          <a:lstStyle>
            <a:lvl1pPr algn="l">
              <a:defRPr sz="1200">
                <a:effectLst/>
              </a:defRPr>
            </a:lvl1pPr>
          </a:lstStyle>
          <a:p>
            <a:endParaRPr lang="en-US">
              <a:effectLst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effectLst/>
        </p:spPr>
        <p:txBody>
          <a:bodyPr vert="horz" lIns="91440" tIns="45720" rIns="91440" bIns="45720" rtlCol="0"/>
          <a:lstStyle>
            <a:lvl1pPr algn="r">
              <a:defRPr sz="1200">
                <a:effectLst/>
              </a:defRPr>
            </a:lvl1pPr>
          </a:lstStyle>
          <a:p>
            <a:fld id="{1A4727E6-3CB5-4527-BACE-F16DF1056C72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  <a:effectLst/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effectLst/>
        </p:spPr>
        <p:txBody>
          <a:bodyPr vert="horz" lIns="91440" tIns="45720" rIns="91440" bIns="45720" rtlCol="0"/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effectLst/>
        </p:spPr>
        <p:txBody>
          <a:bodyPr vert="horz" lIns="91440" tIns="45720" rIns="91440" bIns="45720" rtlCol="0" anchor="b"/>
          <a:lstStyle>
            <a:lvl1pPr algn="l">
              <a:defRPr sz="1200">
                <a:effectLst/>
              </a:defRPr>
            </a:lvl1pPr>
          </a:lstStyle>
          <a:p>
            <a:endParaRPr lang="en-US">
              <a:effectLst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effectLst/>
        </p:spPr>
        <p:txBody>
          <a:bodyPr vert="horz" lIns="91440" tIns="45720" rIns="91440" bIns="45720" rtlCol="0" anchor="b"/>
          <a:lstStyle>
            <a:lvl1pPr algn="r">
              <a:defRPr sz="1200">
                <a:effectLst/>
              </a:defRPr>
            </a:lvl1pPr>
          </a:lstStyle>
          <a:p>
            <a:fld id="{0AAD96FB-887E-4E35-A510-C1FAF903BC33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189476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r>
              <a:rPr lang="en-US" dirty="0" smtClean="0"/>
              <a:t>Conduct Risk</a:t>
            </a:r>
            <a:r>
              <a:rPr lang="en-US" baseline="0" dirty="0" smtClean="0"/>
              <a:t> – Collusion, Insider Trading</a:t>
            </a:r>
          </a:p>
          <a:p>
            <a:r>
              <a:rPr lang="en-US" baseline="0" dirty="0" smtClean="0"/>
              <a:t>Client Suitability – </a:t>
            </a:r>
            <a:r>
              <a:rPr lang="en-US" baseline="0" dirty="0" err="1" smtClean="0"/>
              <a:t>Mis</a:t>
            </a:r>
            <a:r>
              <a:rPr lang="en-US" baseline="0" dirty="0" smtClean="0"/>
              <a:t>-selling, Misrepresentation</a:t>
            </a:r>
          </a:p>
          <a:p>
            <a:r>
              <a:rPr lang="en-US" baseline="0" dirty="0" smtClean="0"/>
              <a:t>Market Abuse – Pump and Dump, Front Running</a:t>
            </a:r>
          </a:p>
          <a:p>
            <a:r>
              <a:rPr lang="en-US" baseline="0" dirty="0" smtClean="0"/>
              <a:t>Complaints – Sales Malpractice</a:t>
            </a:r>
            <a:endParaRPr lang="en-US" dirty="0" smtClean="0"/>
          </a:p>
          <a:p>
            <a:endParaRPr lang="en-US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0AAD96FB-887E-4E35-A510-C1FAF903BC33}" type="slidenum">
              <a:rPr lang="en-US" smtClean="0">
                <a:effectLst/>
              </a:rPr>
              <a:t>11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359039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r>
              <a:rPr lang="en-US" dirty="0" smtClean="0"/>
              <a:t>Reduced Cost of employee non-compliance</a:t>
            </a:r>
            <a:r>
              <a:rPr lang="en-US" baseline="0" dirty="0" smtClean="0"/>
              <a:t> &amp; misconduct</a:t>
            </a:r>
          </a:p>
          <a:p>
            <a:r>
              <a:rPr lang="en-US" baseline="0" dirty="0" smtClean="0"/>
              <a:t>Faster detection of sophisticated scenarios</a:t>
            </a:r>
          </a:p>
          <a:p>
            <a:r>
              <a:rPr lang="en-US" baseline="0" dirty="0" smtClean="0"/>
              <a:t>Risk based prioritization of alerts and reduced false positives</a:t>
            </a:r>
          </a:p>
          <a:p>
            <a:r>
              <a:rPr lang="en-US" baseline="0" dirty="0" err="1" smtClean="0"/>
              <a:t>Nando’s</a:t>
            </a:r>
            <a:r>
              <a:rPr lang="en-US" baseline="0" dirty="0" smtClean="0"/>
              <a:t> and Poker Party Examples</a:t>
            </a:r>
            <a:endParaRPr lang="en-US" dirty="0" smtClean="0"/>
          </a:p>
          <a:p>
            <a:endParaRPr lang="en-US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4F6F0B8F-0D51-4B71-B884-13E8E8CB1BA4}" type="slidenum">
              <a:rPr lang="en-US" smtClean="0">
                <a:effectLst/>
              </a:rPr>
              <a:t>12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13362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r>
              <a:rPr lang="en-US" sz="1400" b="1" dirty="0" smtClean="0">
                <a:solidFill>
                  <a:schemeClr val="accent5"/>
                </a:solidFill>
              </a:rPr>
              <a:t>Hybrid Cognitive Risk Model</a:t>
            </a:r>
          </a:p>
          <a:p>
            <a:r>
              <a:rPr lang="en-US" dirty="0" smtClean="0"/>
              <a:t>Cognitive Technology can identify fraudulent patterns in a highly regulated environment, balancing complexity</a:t>
            </a:r>
            <a:r>
              <a:rPr lang="en-US" baseline="0" dirty="0" smtClean="0"/>
              <a:t> </a:t>
            </a:r>
            <a:r>
              <a:rPr lang="en-US" dirty="0" smtClean="0"/>
              <a:t>and transparency</a:t>
            </a:r>
          </a:p>
          <a:p>
            <a:endParaRPr lang="en-US" dirty="0" smtClean="0"/>
          </a:p>
          <a:p>
            <a:endParaRPr lang="en-US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4F6F0B8F-0D51-4B71-B884-13E8E8CB1BA4}" type="slidenum">
              <a:rPr lang="en-US" smtClean="0">
                <a:effectLst/>
              </a:rPr>
              <a:t>13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41647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r>
              <a:rPr lang="en-US" b="1" dirty="0" smtClean="0"/>
              <a:t>Advantages of a Bayesian</a:t>
            </a:r>
            <a:r>
              <a:rPr lang="en-US" b="1" baseline="0" dirty="0" smtClean="0"/>
              <a:t> Network</a:t>
            </a:r>
          </a:p>
          <a:p>
            <a:r>
              <a:rPr lang="ro-RO" dirty="0" smtClean="0"/>
              <a:t>Bayesian </a:t>
            </a:r>
            <a:r>
              <a:rPr lang="en-US" dirty="0" smtClean="0"/>
              <a:t>Network based risk model detects fraud in a mutually exclusive and collectively exhaustive way 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b="1" dirty="0" smtClean="0">
                <a:solidFill>
                  <a:prstClr val="white"/>
                </a:solidFill>
                <a:ea typeface="MS PGothic" pitchFamily="34" charset="-128"/>
              </a:rPr>
              <a:t>Cognitive Analytics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dirty="0" smtClean="0">
                <a:solidFill>
                  <a:prstClr val="white"/>
                </a:solidFill>
                <a:ea typeface="MS PGothic" pitchFamily="34" charset="-128"/>
              </a:rPr>
              <a:t>Bayesian Network model allows to extract complex patterns indicative of different expense fraud scenarios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b="1" dirty="0" smtClean="0">
                <a:solidFill>
                  <a:prstClr val="white"/>
                </a:solidFill>
                <a:ea typeface="MS PGothic" pitchFamily="34" charset="-128"/>
              </a:rPr>
              <a:t>Visualization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dirty="0" smtClean="0">
                <a:solidFill>
                  <a:prstClr val="white"/>
                </a:solidFill>
                <a:ea typeface="MS PGothic" pitchFamily="34" charset="-128"/>
              </a:rPr>
              <a:t>Advance network visualizations provide quick assessment of most important risk components at a glance 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b="1" dirty="0" smtClean="0">
                <a:solidFill>
                  <a:prstClr val="white"/>
                </a:solidFill>
                <a:ea typeface="MS PGothic" pitchFamily="34" charset="-128"/>
              </a:rPr>
              <a:t>Remediation</a:t>
            </a:r>
          </a:p>
          <a:p>
            <a:pPr marL="0" lvl="1" indent="0" fontAlgn="base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000" dirty="0" smtClean="0">
                <a:solidFill>
                  <a:prstClr val="white"/>
                </a:solidFill>
                <a:ea typeface="MS PGothic" pitchFamily="34" charset="-128"/>
              </a:rPr>
              <a:t>Drill down capabilities facilitate investigations and root cause analysis, in alignment with remediation procedure</a:t>
            </a:r>
          </a:p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4F6F0B8F-0D51-4B71-B884-13E8E8CB1BA4}" type="slidenum">
              <a:rPr lang="en-US" smtClean="0">
                <a:effectLst/>
              </a:rPr>
              <a:t>14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3656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effectLst/>
        </p:spPr>
        <p:txBody>
          <a:bodyPr anchor="b"/>
          <a:lstStyle>
            <a:lvl1pPr algn="ctr">
              <a:defRPr sz="6000">
                <a:effectLst/>
              </a:defRPr>
            </a:lvl1pPr>
          </a:lstStyle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effectLst/>
        </p:spPr>
        <p:txBody>
          <a:bodyPr/>
          <a:lstStyle>
            <a:lvl1pPr marL="0" indent="0" algn="ctr">
              <a:buNone/>
              <a:defRPr sz="2400">
                <a:effectLst/>
              </a:defRPr>
            </a:lvl1pPr>
            <a:lvl2pPr marL="457200" indent="0" algn="ctr">
              <a:buNone/>
              <a:defRPr sz="2000">
                <a:effectLst/>
              </a:defRPr>
            </a:lvl2pPr>
            <a:lvl3pPr marL="914400" indent="0" algn="ctr">
              <a:buNone/>
              <a:defRPr sz="1800">
                <a:effectLst/>
              </a:defRPr>
            </a:lvl3pPr>
            <a:lvl4pPr marL="1371600" indent="0" algn="ctr">
              <a:buNone/>
              <a:defRPr sz="1600">
                <a:effectLst/>
              </a:defRPr>
            </a:lvl4pPr>
            <a:lvl5pPr marL="1828800" indent="0" algn="ctr">
              <a:buNone/>
              <a:defRPr sz="1600">
                <a:effectLst/>
              </a:defRPr>
            </a:lvl5pPr>
            <a:lvl6pPr marL="2286000" indent="0" algn="ctr">
              <a:buNone/>
              <a:defRPr sz="1600">
                <a:effectLst/>
              </a:defRPr>
            </a:lvl6pPr>
            <a:lvl7pPr marL="2743200" indent="0" algn="ctr">
              <a:buNone/>
              <a:defRPr sz="1600">
                <a:effectLst/>
              </a:defRPr>
            </a:lvl7pPr>
            <a:lvl8pPr marL="3200400" indent="0" algn="ctr">
              <a:buNone/>
              <a:defRPr sz="1600">
                <a:effectLst/>
              </a:defRPr>
            </a:lvl8pPr>
            <a:lvl9pPr marL="3657600" indent="0" algn="ctr">
              <a:buNone/>
              <a:defRPr sz="1600">
                <a:effectLst/>
              </a:defRPr>
            </a:lvl9pPr>
          </a:lstStyle>
          <a:p>
            <a:r>
              <a:rPr lang="en-US">
                <a:effectLst/>
              </a:rPr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75870923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effectLst/>
        </p:spPr>
        <p:txBody>
          <a:bodyPr anchor="b"/>
          <a:lstStyle>
            <a:lvl1pPr>
              <a:defRPr sz="3200">
                <a:effectLst/>
              </a:defRPr>
            </a:lvl1pPr>
          </a:lstStyle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effectLst/>
        </p:spPr>
        <p:txBody>
          <a:bodyPr/>
          <a:lstStyle>
            <a:lvl1pPr marL="0" indent="0">
              <a:buNone/>
              <a:defRPr sz="3200">
                <a:effectLst/>
              </a:defRPr>
            </a:lvl1pPr>
            <a:lvl2pPr marL="457200" indent="0">
              <a:buNone/>
              <a:defRPr sz="2800">
                <a:effectLst/>
              </a:defRPr>
            </a:lvl2pPr>
            <a:lvl3pPr marL="914400" indent="0">
              <a:buNone/>
              <a:defRPr sz="2400">
                <a:effectLst/>
              </a:defRPr>
            </a:lvl3pPr>
            <a:lvl4pPr marL="1371600" indent="0">
              <a:buNone/>
              <a:defRPr sz="2000">
                <a:effectLst/>
              </a:defRPr>
            </a:lvl4pPr>
            <a:lvl5pPr marL="1828800" indent="0">
              <a:buNone/>
              <a:defRPr sz="2000">
                <a:effectLst/>
              </a:defRPr>
            </a:lvl5pPr>
            <a:lvl6pPr marL="2286000" indent="0">
              <a:buNone/>
              <a:defRPr sz="2000">
                <a:effectLst/>
              </a:defRPr>
            </a:lvl6pPr>
            <a:lvl7pPr marL="2743200" indent="0">
              <a:buNone/>
              <a:defRPr sz="2000">
                <a:effectLst/>
              </a:defRPr>
            </a:lvl7pPr>
            <a:lvl8pPr marL="3200400" indent="0">
              <a:buNone/>
              <a:defRPr sz="2000">
                <a:effectLst/>
              </a:defRPr>
            </a:lvl8pPr>
            <a:lvl9pPr marL="3657600" indent="0">
              <a:buNone/>
              <a:defRPr sz="2000">
                <a:effectLst/>
              </a:defRPr>
            </a:lvl9pPr>
          </a:lstStyle>
          <a:p>
            <a:endParaRPr lang="en-US">
              <a:effectLst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effectLst/>
        </p:spPr>
        <p:txBody>
          <a:bodyPr/>
          <a:lstStyle>
            <a:lvl1pPr marL="0" indent="0">
              <a:buNone/>
              <a:defRPr sz="1600">
                <a:effectLst/>
              </a:defRPr>
            </a:lvl1pPr>
            <a:lvl2pPr marL="457200" indent="0">
              <a:buNone/>
              <a:defRPr sz="1400">
                <a:effectLst/>
              </a:defRPr>
            </a:lvl2pPr>
            <a:lvl3pPr marL="914400" indent="0">
              <a:buNone/>
              <a:defRPr sz="1200">
                <a:effectLst/>
              </a:defRPr>
            </a:lvl3pPr>
            <a:lvl4pPr marL="1371600" indent="0">
              <a:buNone/>
              <a:defRPr sz="1000">
                <a:effectLst/>
              </a:defRPr>
            </a:lvl4pPr>
            <a:lvl5pPr marL="1828800" indent="0">
              <a:buNone/>
              <a:defRPr sz="1000">
                <a:effectLst/>
              </a:defRPr>
            </a:lvl5pPr>
            <a:lvl6pPr marL="2286000" indent="0">
              <a:buNone/>
              <a:defRPr sz="1000">
                <a:effectLst/>
              </a:defRPr>
            </a:lvl6pPr>
            <a:lvl7pPr marL="2743200" indent="0">
              <a:buNone/>
              <a:defRPr sz="1000">
                <a:effectLst/>
              </a:defRPr>
            </a:lvl7pPr>
            <a:lvl8pPr marL="3200400" indent="0">
              <a:buNone/>
              <a:defRPr sz="1000">
                <a:effectLst/>
              </a:defRPr>
            </a:lvl8pPr>
            <a:lvl9pPr marL="3657600" indent="0">
              <a:buNone/>
              <a:defRPr sz="1000">
                <a:effectLst/>
              </a:defRPr>
            </a:lvl9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97419668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effectLst/>
        </p:spPr>
        <p:txBody>
          <a:bodyPr vert="eaVert"/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8024436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effectLst/>
        </p:spPr>
        <p:txBody>
          <a:bodyPr vert="eaVert"/>
          <a:lstStyle/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effectLst/>
        </p:spPr>
        <p:txBody>
          <a:bodyPr vert="eaVert"/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9525212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effectLst/>
        </p:spPr>
        <p:txBody>
          <a:bodyPr/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81033139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effectLst/>
        </p:spPr>
        <p:txBody>
          <a:bodyPr anchor="b"/>
          <a:lstStyle>
            <a:lvl1pPr>
              <a:defRPr sz="6000">
                <a:effectLst/>
              </a:defRPr>
            </a:lvl1pPr>
          </a:lstStyle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effectLst/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  <a:effectLst/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  <a:effectLst/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  <a:effectLst/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  <a:effectLst/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  <a:effectLst/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  <a:effectLst/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  <a:effectLst/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  <a:effectLst/>
              </a:defRPr>
            </a:lvl9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63042201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effectLst/>
        </p:spPr>
        <p:txBody>
          <a:bodyPr/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effectLst/>
        </p:spPr>
        <p:txBody>
          <a:bodyPr/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96985585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effectLst/>
        </p:spPr>
        <p:txBody>
          <a:bodyPr/>
          <a:lstStyle/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effectLst/>
        </p:spPr>
        <p:txBody>
          <a:bodyPr anchor="b"/>
          <a:lstStyle>
            <a:lvl1pPr marL="0" indent="0">
              <a:buNone/>
              <a:defRPr sz="2400" b="1">
                <a:effectLst/>
              </a:defRPr>
            </a:lvl1pPr>
            <a:lvl2pPr marL="457200" indent="0">
              <a:buNone/>
              <a:defRPr sz="2000" b="1">
                <a:effectLst/>
              </a:defRPr>
            </a:lvl2pPr>
            <a:lvl3pPr marL="914400" indent="0">
              <a:buNone/>
              <a:defRPr sz="1800" b="1">
                <a:effectLst/>
              </a:defRPr>
            </a:lvl3pPr>
            <a:lvl4pPr marL="1371600" indent="0">
              <a:buNone/>
              <a:defRPr sz="1600" b="1">
                <a:effectLst/>
              </a:defRPr>
            </a:lvl4pPr>
            <a:lvl5pPr marL="1828800" indent="0">
              <a:buNone/>
              <a:defRPr sz="1600" b="1">
                <a:effectLst/>
              </a:defRPr>
            </a:lvl5pPr>
            <a:lvl6pPr marL="2286000" indent="0">
              <a:buNone/>
              <a:defRPr sz="1600" b="1">
                <a:effectLst/>
              </a:defRPr>
            </a:lvl6pPr>
            <a:lvl7pPr marL="2743200" indent="0">
              <a:buNone/>
              <a:defRPr sz="1600" b="1">
                <a:effectLst/>
              </a:defRPr>
            </a:lvl7pPr>
            <a:lvl8pPr marL="3200400" indent="0">
              <a:buNone/>
              <a:defRPr sz="1600" b="1">
                <a:effectLst/>
              </a:defRPr>
            </a:lvl8pPr>
            <a:lvl9pPr marL="3657600" indent="0">
              <a:buNone/>
              <a:defRPr sz="1600" b="1">
                <a:effectLst/>
              </a:defRPr>
            </a:lvl9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effectLst/>
        </p:spPr>
        <p:txBody>
          <a:bodyPr/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effectLst/>
        </p:spPr>
        <p:txBody>
          <a:bodyPr anchor="b"/>
          <a:lstStyle>
            <a:lvl1pPr marL="0" indent="0">
              <a:buNone/>
              <a:defRPr sz="2400" b="1">
                <a:effectLst/>
              </a:defRPr>
            </a:lvl1pPr>
            <a:lvl2pPr marL="457200" indent="0">
              <a:buNone/>
              <a:defRPr sz="2000" b="1">
                <a:effectLst/>
              </a:defRPr>
            </a:lvl2pPr>
            <a:lvl3pPr marL="914400" indent="0">
              <a:buNone/>
              <a:defRPr sz="1800" b="1">
                <a:effectLst/>
              </a:defRPr>
            </a:lvl3pPr>
            <a:lvl4pPr marL="1371600" indent="0">
              <a:buNone/>
              <a:defRPr sz="1600" b="1">
                <a:effectLst/>
              </a:defRPr>
            </a:lvl4pPr>
            <a:lvl5pPr marL="1828800" indent="0">
              <a:buNone/>
              <a:defRPr sz="1600" b="1">
                <a:effectLst/>
              </a:defRPr>
            </a:lvl5pPr>
            <a:lvl6pPr marL="2286000" indent="0">
              <a:buNone/>
              <a:defRPr sz="1600" b="1">
                <a:effectLst/>
              </a:defRPr>
            </a:lvl6pPr>
            <a:lvl7pPr marL="2743200" indent="0">
              <a:buNone/>
              <a:defRPr sz="1600" b="1">
                <a:effectLst/>
              </a:defRPr>
            </a:lvl7pPr>
            <a:lvl8pPr marL="3200400" indent="0">
              <a:buNone/>
              <a:defRPr sz="1600" b="1">
                <a:effectLst/>
              </a:defRPr>
            </a:lvl8pPr>
            <a:lvl9pPr marL="3657600" indent="0">
              <a:buNone/>
              <a:defRPr sz="1600" b="1">
                <a:effectLst/>
              </a:defRPr>
            </a:lvl9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effectLst/>
        </p:spPr>
        <p:txBody>
          <a:bodyPr/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09177470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03983436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85949825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725E5F46-9C77-4E4F-9088-ECC285F7D119}"/>
              </a:ext>
            </a:extLst>
          </p:cNvPr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73287" y="494506"/>
            <a:ext cx="8825385" cy="106679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pic>
        <p:nvPicPr>
          <p:cNvPr id="8" name="Picture 7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6732" y="494506"/>
            <a:ext cx="3141980" cy="1066799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38200" y="1819275"/>
            <a:ext cx="10841038" cy="3005138"/>
          </a:xfrm>
          <a:effectLst/>
        </p:spPr>
        <p:txBody>
          <a:bodyPr/>
          <a:lstStyle>
            <a:lvl1pPr marL="0" indent="0" algn="ct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200" b="1" i="1" kern="120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603811" y="4978400"/>
            <a:ext cx="3068638" cy="1743075"/>
          </a:xfrm>
          <a:effectLst/>
        </p:spPr>
        <p:txBody>
          <a:bodyPr>
            <a:normAutofit/>
          </a:bodyPr>
          <a:lstStyle>
            <a:lvl1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 smtClean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lnSpc>
                <a:spcPct val="7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600" kern="120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>
                <a:effectLst/>
              </a:rPr>
              <a:t>Presenter</a:t>
            </a:r>
          </a:p>
          <a:p>
            <a:pPr lvl="0"/>
            <a:r>
              <a:rPr lang="en-US">
                <a:effectLst/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387932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effectLst/>
        </p:spPr>
        <p:txBody>
          <a:bodyPr anchor="b"/>
          <a:lstStyle>
            <a:lvl1pPr>
              <a:defRPr sz="3200">
                <a:effectLst/>
              </a:defRPr>
            </a:lvl1pPr>
          </a:lstStyle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effectLst/>
        </p:spPr>
        <p:txBody>
          <a:bodyPr/>
          <a:lstStyle>
            <a:lvl1pPr>
              <a:defRPr sz="3200">
                <a:effectLst/>
              </a:defRPr>
            </a:lvl1pPr>
            <a:lvl2pPr>
              <a:defRPr sz="2800">
                <a:effectLst/>
              </a:defRPr>
            </a:lvl2pPr>
            <a:lvl3pPr>
              <a:defRPr sz="2400">
                <a:effectLst/>
              </a:defRPr>
            </a:lvl3pPr>
            <a:lvl4pPr>
              <a:defRPr sz="2000">
                <a:effectLst/>
              </a:defRPr>
            </a:lvl4pPr>
            <a:lvl5pPr>
              <a:defRPr sz="2000">
                <a:effectLst/>
              </a:defRPr>
            </a:lvl5pPr>
            <a:lvl6pPr>
              <a:defRPr sz="2000">
                <a:effectLst/>
              </a:defRPr>
            </a:lvl6pPr>
            <a:lvl7pPr>
              <a:defRPr sz="2000">
                <a:effectLst/>
              </a:defRPr>
            </a:lvl7pPr>
            <a:lvl8pPr>
              <a:defRPr sz="2000">
                <a:effectLst/>
              </a:defRPr>
            </a:lvl8pPr>
            <a:lvl9pPr>
              <a:defRPr sz="2000">
                <a:effectLst/>
              </a:defRPr>
            </a:lvl9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effectLst/>
        </p:spPr>
        <p:txBody>
          <a:bodyPr/>
          <a:lstStyle>
            <a:lvl1pPr marL="0" indent="0">
              <a:buNone/>
              <a:defRPr sz="1600">
                <a:effectLst/>
              </a:defRPr>
            </a:lvl1pPr>
            <a:lvl2pPr marL="457200" indent="0">
              <a:buNone/>
              <a:defRPr sz="1400">
                <a:effectLst/>
              </a:defRPr>
            </a:lvl2pPr>
            <a:lvl3pPr marL="914400" indent="0">
              <a:buNone/>
              <a:defRPr sz="1200">
                <a:effectLst/>
              </a:defRPr>
            </a:lvl3pPr>
            <a:lvl4pPr marL="1371600" indent="0">
              <a:buNone/>
              <a:defRPr sz="1000">
                <a:effectLst/>
              </a:defRPr>
            </a:lvl4pPr>
            <a:lvl5pPr marL="1828800" indent="0">
              <a:buNone/>
              <a:defRPr sz="1000">
                <a:effectLst/>
              </a:defRPr>
            </a:lvl5pPr>
            <a:lvl6pPr marL="2286000" indent="0">
              <a:buNone/>
              <a:defRPr sz="1000">
                <a:effectLst/>
              </a:defRPr>
            </a:lvl6pPr>
            <a:lvl7pPr marL="2743200" indent="0">
              <a:buNone/>
              <a:defRPr sz="1000">
                <a:effectLst/>
              </a:defRPr>
            </a:lvl7pPr>
            <a:lvl8pPr marL="3200400" indent="0">
              <a:buNone/>
              <a:defRPr sz="1000">
                <a:effectLst/>
              </a:defRPr>
            </a:lvl8pPr>
            <a:lvl9pPr marL="3657600" indent="0">
              <a:buNone/>
              <a:defRPr sz="1000">
                <a:effectLst/>
              </a:defRPr>
            </a:lvl9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endParaRPr lang="en-US">
              <a:effectLst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3628931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effectLst/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effectLst/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ffectLst/>
              </a:defRPr>
            </a:lvl1pPr>
          </a:lstStyle>
          <a:p>
            <a:fld id="{1BDD4060-E96C-4265-9C4B-AD47855DF497}" type="datetimeFigureOut">
              <a:rPr lang="en-US" smtClean="0">
                <a:effectLst/>
              </a:rPr>
              <a:t>10/23/2019</a:t>
            </a:fld>
            <a:endParaRPr lang="en-US">
              <a:effectLst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effectLst/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ffectLst/>
              </a:defRPr>
            </a:lvl1pPr>
          </a:lstStyle>
          <a:p>
            <a:endParaRPr lang="en-US">
              <a:effectLst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effectLst/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ffectLst/>
              </a:defRPr>
            </a:lvl1pPr>
          </a:lstStyle>
          <a:p>
            <a:fld id="{11304D86-FFBC-4B37-80BD-DD9BEEF79415}" type="slidenum">
              <a:rPr lang="en-US" smtClean="0">
                <a:effectLst/>
              </a:rPr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007694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>
          <a:effectLst/>
        </a:defRPr>
      </a:defPPr>
      <a:lvl1pPr marL="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4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2.png"/><Relationship Id="rId5" Type="http://schemas.openxmlformats.org/officeDocument/2006/relationships/image" Target="../media/image37.png"/><Relationship Id="rId15" Type="http://schemas.openxmlformats.org/officeDocument/2006/relationships/image" Target="../media/image46.png"/><Relationship Id="rId10" Type="http://schemas.openxmlformats.org/officeDocument/2006/relationships/image" Target="../media/image10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8.png"/><Relationship Id="rId7" Type="http://schemas.openxmlformats.org/officeDocument/2006/relationships/image" Target="../media/image33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29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CF4CDEE2-7FBD-4F52-BEBD-69BA70CD5D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effectLst/>
        </p:spPr>
        <p:txBody>
          <a:bodyPr>
            <a:normAutofit/>
          </a:bodyPr>
          <a:lstStyle/>
          <a:p>
            <a:pPr marL="0" indent="0" algn="ctr" rtl="0">
              <a:buNone/>
            </a:pPr>
            <a:r>
              <a:rPr lang="ru-RU" sz="2200" b="1" i="1" u="none" strike="noStrike" dirty="0" smtId="4294967295">
                <a:solidFill>
                  <a:srgbClr val="2E75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Практикующее сообщество по внутреннему аудиту (ПСПВА)</a:t>
            </a:r>
          </a:p>
          <a:p>
            <a:pPr marL="0" indent="0" algn="ctr">
              <a:buNone/>
            </a:pPr>
            <a:endParaRPr lang="en-GB" b="1" dirty="0"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indent="0" algn="ctr" rtl="0">
              <a:buNone/>
            </a:pPr>
            <a:r>
              <a:rPr lang="ru-RU" sz="2200" b="1" i="1" u="none" strike="noStrike" dirty="0" smtId="4294967295">
                <a:solidFill>
                  <a:srgbClr val="2E75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Совещание рабочей группы по направлению "Аудит на практике" (АНП)</a:t>
            </a:r>
          </a:p>
          <a:p>
            <a:pPr marL="0" indent="0" algn="ctr">
              <a:buNone/>
            </a:pPr>
            <a:endParaRPr lang="en-GB" b="1" i="1" dirty="0"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indent="0" algn="ctr" rtl="0">
              <a:buNone/>
            </a:pPr>
            <a:r>
              <a:rPr lang="ru-RU" sz="2200" b="1" i="1" u="none" strike="noStrike" dirty="0" smtId="4294967295">
                <a:solidFill>
                  <a:srgbClr val="2E75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52-е собрание ПСПВА</a:t>
            </a:r>
          </a:p>
          <a:p>
            <a:pPr marL="0" indent="0" algn="ctr">
              <a:buNone/>
            </a:pPr>
            <a:endParaRPr lang="en-GB" b="1" i="1" dirty="0"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indent="0" algn="ctr" rtl="0">
              <a:buNone/>
            </a:pPr>
            <a:r>
              <a:rPr lang="ru-RU" sz="2200" b="1" i="1" u="none" strike="noStrike" dirty="0" smtId="4294967295">
                <a:solidFill>
                  <a:srgbClr val="2E75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г. Сочи, Российская Федерация, 28-29 октября 2019 г.</a:t>
            </a:r>
          </a:p>
          <a:p>
            <a:pPr marL="0" indent="0">
              <a:buNone/>
            </a:pPr>
            <a:endParaRPr lang="en-GB" dirty="0"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indent="0" algn="r">
              <a:buNone/>
            </a:pPr>
            <a:endParaRPr lang="en-GB" sz="1400" dirty="0"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endParaRPr lang="en-GB" dirty="0">
              <a:effectLst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5892800" y="4978400"/>
            <a:ext cx="5779649" cy="1743075"/>
          </a:xfrm>
          <a:effectLst/>
        </p:spPr>
        <p:txBody>
          <a:bodyPr/>
          <a:lstStyle/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Скотт </a:t>
            </a:r>
            <a:r>
              <a:rPr lang="ru-RU" sz="1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Лейтон</a:t>
            </a:r>
            <a:endParaRPr lang="ru-RU" sz="1600" b="0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Calibri"/>
            </a:endParaRP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Вице-президент, старший партнер</a:t>
            </a: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"</a:t>
            </a:r>
            <a:r>
              <a:rPr lang="ru-RU" sz="1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Глобал</a:t>
            </a:r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ru-RU" sz="1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Файнэнс</a:t>
            </a:r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ru-RU" sz="1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Трансформэйшн</a:t>
            </a:r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"</a:t>
            </a: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IB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725E5F46-9C77-4E4F-9088-ECC285F7D119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3287" y="494506"/>
            <a:ext cx="8825385" cy="106679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pic>
        <p:nvPicPr>
          <p:cNvPr id="6" name="Picture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6732" y="494506"/>
            <a:ext cx="3141980" cy="1066799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80691618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pPr rtl="0"/>
            <a:r>
              <a:rPr lang="ru-RU" sz="60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Calibri Light"/>
              </a:rPr>
              <a:t>Передовые практики по борьбе с мошенничеством и коррупцией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pPr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ИТ и прочие инновации</a:t>
            </a:r>
          </a:p>
          <a:p>
            <a:pPr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20 минут</a:t>
            </a:r>
          </a:p>
        </p:txBody>
      </p:sp>
    </p:spTree>
    <p:extLst>
      <p:ext uri="{BB962C8B-B14F-4D97-AF65-F5344CB8AC3E}">
        <p14:creationId xmlns:p14="http://schemas.microsoft.com/office/powerpoint/2010/main" val="305094265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6146" name="Picture 2" descr="dv1163070.jp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990"/>
          <a:stretch>
            <a:fillRect/>
          </a:stretch>
        </p:blipFill>
        <p:spPr>
          <a:xfrm>
            <a:off x="1489485" y="-3534"/>
            <a:ext cx="3714705" cy="687296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/>
          <p:nvPr/>
        </p:nvSpPr>
        <p:spPr>
          <a:xfrm>
            <a:off x="269034" y="236039"/>
            <a:ext cx="10515600" cy="875846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ru-RU" sz="4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Осмысленный финансовый надзор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7543" y="1842740"/>
            <a:ext cx="3636647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>
                <a:effectLst/>
              </a:defRPr>
            </a:defPPr>
            <a:lvl1pPr>
              <a:defRPr sz="3200">
                <a:solidFill>
                  <a:schemeClr val="bg1"/>
                </a:solidFill>
                <a:effectLst/>
              </a:defRPr>
            </a:lvl1pPr>
          </a:lstStyle>
          <a:p>
            <a:pPr rtl="0"/>
            <a:r>
              <a:rPr lang="ru-RU" sz="20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Поведение, </a:t>
            </a:r>
            <a:r>
              <a:rPr lang="ru-RU" sz="2000" b="0" i="0" u="none" strike="noStrike" dirty="0" smtClean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/>
            </a:r>
            <a:br>
              <a:rPr lang="ru-RU" sz="2000" b="0" i="0" u="none" strike="noStrike" dirty="0" smtClean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</a:br>
            <a:r>
              <a:rPr lang="ru-RU" sz="2000" b="0" i="0" u="none" strike="noStrike" dirty="0" smtClean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вязанное </a:t>
            </a:r>
            <a:r>
              <a:rPr lang="ru-RU" sz="20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 риском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67543" y="2973705"/>
            <a:ext cx="3215880" cy="40011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>
            <a:defPPr>
              <a:defRPr lang="en-US">
                <a:effectLst/>
              </a:defRPr>
            </a:defPPr>
            <a:lvl1pPr>
              <a:defRPr sz="3200">
                <a:effectLst/>
              </a:defRPr>
            </a:lvl1pPr>
          </a:lstStyle>
          <a:p>
            <a:pPr rtl="0"/>
            <a:r>
              <a:rPr lang="ru-RU" sz="20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Пригодность для клиент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67543" y="4104670"/>
            <a:ext cx="2439257" cy="70788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>
            <a:defPPr>
              <a:defRPr lang="en-US">
                <a:effectLst/>
              </a:defRPr>
            </a:defPPr>
            <a:lvl1pPr>
              <a:defRPr sz="3200">
                <a:effectLst/>
              </a:defRPr>
            </a:lvl1pPr>
          </a:lstStyle>
          <a:p>
            <a:pPr rtl="0"/>
            <a:r>
              <a:rPr lang="ru-RU" sz="2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Манипулирование </a:t>
            </a:r>
            <a:r>
              <a:rPr lang="ru-RU" sz="2000" b="0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/>
            </a:r>
            <a:br>
              <a:rPr lang="ru-RU" sz="2000" b="0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</a:br>
            <a:r>
              <a:rPr lang="ru-RU" sz="2000" b="0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рынком</a:t>
            </a:r>
            <a:endParaRPr lang="ru-RU" sz="2000" b="0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IBM Plex San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67543" y="5487426"/>
            <a:ext cx="1193917" cy="40011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>
            <a:defPPr>
              <a:defRPr lang="en-US">
                <a:effectLst/>
              </a:defRPr>
            </a:defPPr>
            <a:lvl1pPr>
              <a:defRPr sz="3200">
                <a:effectLst/>
              </a:defRPr>
            </a:lvl1pPr>
          </a:lstStyle>
          <a:p>
            <a:pPr rtl="0"/>
            <a:r>
              <a:rPr lang="ru-RU" sz="20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Жалоб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9034" y="1161782"/>
            <a:ext cx="7553671" cy="40011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Для борьбы с </a:t>
            </a:r>
            <a:r>
              <a:rPr lang="ru-RU" sz="20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финансовыми </a:t>
            </a:r>
            <a:r>
              <a:rPr lang="ru-RU" sz="2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хемами и мошенничеством…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56050" y="2314866"/>
            <a:ext cx="2582054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Действия на упреждение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405935" y="2332254"/>
            <a:ext cx="1239057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6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Поведение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009584" y="2332254"/>
            <a:ext cx="2158989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6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Машинное обучени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407586" y="1738384"/>
            <a:ext cx="2771686" cy="36612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800" b="0" i="1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... Изменить мышление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07587" y="3867766"/>
            <a:ext cx="4497436" cy="36612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800" b="0" i="1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… Прибегнуть к комплексному подходу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311552" y="4971965"/>
            <a:ext cx="1760131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Электронная поч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688163" y="6230052"/>
            <a:ext cx="712054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Торги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515907" y="4948059"/>
            <a:ext cx="1507657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Деятельность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865155" y="6215412"/>
            <a:ext cx="729815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Голос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918713" y="1127115"/>
            <a:ext cx="2336276" cy="39663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ам необходимо...</a:t>
            </a:r>
          </a:p>
        </p:txBody>
      </p:sp>
      <p:pic>
        <p:nvPicPr>
          <p:cNvPr id="6150" name="Picture 6" descr="https://static.thenounproject.com/png/2334469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57" y="2770068"/>
            <a:ext cx="986134" cy="98613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s://static.thenounproject.com/png/1608531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02" y="3940792"/>
            <a:ext cx="892345" cy="89234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https://static.thenounproject.com/png/2836852-200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425" y="5262913"/>
            <a:ext cx="952500" cy="9525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https://static.thenounproject.com/png/2264571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93" y="1677988"/>
            <a:ext cx="859456" cy="85945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8F68A3A3-EA54-4A6A-B341-FA5F00ABC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1553" y="2577508"/>
            <a:ext cx="1157689" cy="115768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70E35913-54D3-4A99-B4DF-0A612E20DE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37" y="2730057"/>
            <a:ext cx="823651" cy="82365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https://static.thenounproject.com/png/1949823-200.png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23B9D9D6-416A-4E35-BDBC-F5E763B36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8626" y="2737779"/>
            <a:ext cx="816541" cy="81654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5B7C3A78-0789-4A43-B686-14EA0D64D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910" y="4713317"/>
            <a:ext cx="1145935" cy="114593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09C0A921-CDA5-427C-B76D-F66178344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240" y="4262091"/>
            <a:ext cx="713985" cy="71398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8C52E25E-6FCE-4283-8C8E-4C6A59E8F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8076" y="5484096"/>
            <a:ext cx="750312" cy="75031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C485F7C4-8E22-487F-ADE0-076F90D94E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1482" y="4297742"/>
            <a:ext cx="642682" cy="64268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0" name="Picture 16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40650555-D2DC-440A-8D42-1DD22AB3C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1649" y="5177414"/>
            <a:ext cx="1262348" cy="126234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660925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28397"/>
            <a:ext cx="12159810" cy="4662802"/>
          </a:xfrm>
          <a:prstGeom prst="rect">
            <a:avLst/>
          </a:prstGeom>
          <a:effectLst/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12</a:t>
            </a:r>
          </a:p>
        </p:txBody>
      </p:sp>
      <p:sp>
        <p:nvSpPr>
          <p:cNvPr id="7" name="Title 1"/>
          <p:cNvSpPr txBox="1"/>
          <p:nvPr/>
        </p:nvSpPr>
        <p:spPr>
          <a:xfrm>
            <a:off x="272141" y="256270"/>
            <a:ext cx="11886886" cy="875846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ru-RU" sz="4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Ценная информация для надзора за финансовыми услугам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89272" y="1217064"/>
            <a:ext cx="2158214" cy="73866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ru-RU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Собрание в единое целое ценной информации для обнаружения подозрительной деятельности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667225" y="1347689"/>
            <a:ext cx="2379818" cy="369332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ru-RU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Просмотр связей с их мгновенной </a:t>
            </a:r>
            <a:br>
              <a:rPr lang="ru-RU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r>
              <a:rPr lang="ru-RU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детализацией и воспроизведением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891687" y="1210938"/>
            <a:ext cx="2148581" cy="553998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ru-RU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Создание профилей сотрудников с характеристиками личности и поведения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837017" y="1210937"/>
            <a:ext cx="2322010" cy="738664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ru-RU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Отслеживание предупреждений и расследований на основе постоянно обновляемых моделей риск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1838" y="2700901"/>
            <a:ext cx="1840264" cy="305105"/>
          </a:xfrm>
          <a:prstGeom prst="rect">
            <a:avLst/>
          </a:prstGeom>
          <a:solidFill>
            <a:srgbClr val="E9E9E9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ru-RU" sz="2000" b="1" i="0" u="none" strike="noStrike" dirty="0" smtId="4294967295">
                <a:solidFill>
                  <a:srgbClr val="575858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Операци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-1838" y="3726915"/>
            <a:ext cx="1840264" cy="610210"/>
          </a:xfrm>
          <a:prstGeom prst="rect">
            <a:avLst/>
          </a:prstGeom>
          <a:solidFill>
            <a:srgbClr val="E9E9E9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ru-RU" sz="2000" b="1" i="0" u="none" strike="noStrike" smtId="4294967295">
                <a:solidFill>
                  <a:srgbClr val="575858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Обмен информацией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1838" y="4752930"/>
            <a:ext cx="1840264" cy="305105"/>
          </a:xfrm>
          <a:prstGeom prst="rect">
            <a:avLst/>
          </a:prstGeom>
          <a:solidFill>
            <a:srgbClr val="E9E9E9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ru-RU" sz="2000" b="1" i="0" u="none" strike="noStrike" smtId="4294967295">
                <a:solidFill>
                  <a:srgbClr val="575858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Внешние связ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800160" y="2514899"/>
            <a:ext cx="790062" cy="846386"/>
          </a:xfrm>
          <a:prstGeom prst="rect">
            <a:avLst/>
          </a:prstGeom>
          <a:solidFill>
            <a:srgbClr val="E9E9E9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ru-RU" sz="1100" b="0" i="0" u="none" strike="noStrike" dirty="0" smtId="4294967295">
                <a:solidFill>
                  <a:srgbClr val="3A97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Заказ</a:t>
            </a:r>
          </a:p>
          <a:p>
            <a:pPr algn="r" rtl="0"/>
            <a:r>
              <a:rPr lang="ru-RU" sz="1100" b="0" i="0" u="none" strike="noStrike" dirty="0" smtId="4294967295">
                <a:solidFill>
                  <a:srgbClr val="3A97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Торги</a:t>
            </a:r>
          </a:p>
          <a:p>
            <a:pPr algn="r" rtl="0"/>
            <a:r>
              <a:rPr lang="ru-RU" sz="1100" b="0" i="0" u="none" strike="noStrike" dirty="0" smtId="4294967295">
                <a:solidFill>
                  <a:srgbClr val="3A97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Выполнение</a:t>
            </a:r>
          </a:p>
          <a:p>
            <a:pPr algn="r" rtl="0"/>
            <a:r>
              <a:rPr lang="ru-RU" sz="1100" b="0" i="0" u="none" strike="noStrike" dirty="0" smtClean="0" smtId="4294967295">
                <a:solidFill>
                  <a:srgbClr val="3A97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Ссылка</a:t>
            </a:r>
          </a:p>
          <a:p>
            <a:pPr algn="r" rtl="0"/>
            <a:endParaRPr lang="ru-RU" sz="1100" b="0" i="0" u="none" strike="noStrike" dirty="0" smtId="4294967295">
              <a:solidFill>
                <a:srgbClr val="3A97B6"/>
              </a:solidFill>
              <a:effectLst/>
              <a:highlight>
                <a:srgbClr val="000000">
                  <a:alpha val="0"/>
                </a:srgbClr>
              </a:highlight>
              <a:latin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00162" y="3688443"/>
            <a:ext cx="790062" cy="677108"/>
          </a:xfrm>
          <a:prstGeom prst="rect">
            <a:avLst/>
          </a:prstGeom>
          <a:solidFill>
            <a:srgbClr val="E9E9E9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ru-RU" sz="1100" b="0" i="0" u="none" strike="noStrike" smtId="4294967295">
                <a:solidFill>
                  <a:srgbClr val="3A97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Электронная почта</a:t>
            </a:r>
          </a:p>
          <a:p>
            <a:pPr algn="r" rtl="0"/>
            <a:r>
              <a:rPr lang="ru-RU" sz="1100" b="0" i="0" u="none" strike="noStrike" smtId="4294967295">
                <a:solidFill>
                  <a:srgbClr val="3A97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Чат</a:t>
            </a:r>
          </a:p>
          <a:p>
            <a:pPr algn="r" rtl="0"/>
            <a:r>
              <a:rPr lang="ru-RU" sz="1100" b="0" i="0" u="none" strike="noStrike" smtId="4294967295">
                <a:solidFill>
                  <a:srgbClr val="3A97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Голос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00160" y="4624404"/>
            <a:ext cx="790062" cy="507831"/>
          </a:xfrm>
          <a:prstGeom prst="rect">
            <a:avLst/>
          </a:prstGeom>
          <a:solidFill>
            <a:srgbClr val="E9E9E9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ru-RU" sz="1100" b="0" i="0" u="none" strike="noStrike" dirty="0" smtId="4294967295">
                <a:solidFill>
                  <a:srgbClr val="3A97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Новости</a:t>
            </a:r>
          </a:p>
          <a:p>
            <a:pPr algn="r" rtl="0"/>
            <a:r>
              <a:rPr lang="ru-RU" sz="1100" b="0" i="0" u="none" strike="noStrike" dirty="0" smtId="4294967295">
                <a:solidFill>
                  <a:srgbClr val="3A97B6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Социальные сети</a:t>
            </a:r>
          </a:p>
        </p:txBody>
      </p:sp>
      <p:sp>
        <p:nvSpPr>
          <p:cNvPr id="16" name="TextBox 15"/>
          <p:cNvSpPr txBox="1"/>
          <p:nvPr/>
        </p:nvSpPr>
        <p:spPr>
          <a:xfrm rot="5400000">
            <a:off x="3566691" y="3775339"/>
            <a:ext cx="1840264" cy="305105"/>
          </a:xfrm>
          <a:prstGeom prst="rect">
            <a:avLst/>
          </a:prstGeom>
          <a:solidFill>
            <a:srgbClr val="CDCDCD"/>
          </a:solidFill>
          <a:effectLst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ru-RU" sz="20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Наблюдение</a:t>
            </a:r>
          </a:p>
        </p:txBody>
      </p:sp>
    </p:spTree>
    <p:extLst>
      <p:ext uri="{BB962C8B-B14F-4D97-AF65-F5344CB8AC3E}">
        <p14:creationId xmlns:p14="http://schemas.microsoft.com/office/powerpoint/2010/main" val="404931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solidFill>
                  <a:srgbClr val="464646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13</a:t>
            </a:r>
          </a:p>
        </p:txBody>
      </p:sp>
      <p:sp>
        <p:nvSpPr>
          <p:cNvPr id="9" name="Title 4"/>
          <p:cNvSpPr txBox="1"/>
          <p:nvPr/>
        </p:nvSpPr>
        <p:spPr>
          <a:xfrm>
            <a:off x="304801" y="231648"/>
            <a:ext cx="11601449" cy="1219200"/>
          </a:xfrm>
          <a:prstGeom prst="rect">
            <a:avLst/>
          </a:prstGeom>
          <a:effectLst/>
        </p:spPr>
        <p:txBody>
          <a:bodyPr lIns="0" tIns="0" rIns="0" bIns="0"/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effectLst/>
                <a:latin typeface="Arial"/>
                <a:ea typeface="+mj-ea"/>
                <a:cs typeface="Arial"/>
              </a:defRPr>
            </a:lvl1pPr>
          </a:lstStyle>
          <a:p>
            <a:pPr rtl="0"/>
            <a:r>
              <a:rPr lang="ru-RU" sz="2600" b="1" i="0" u="none" strike="noStrike" dirty="0" smtId="4294967295">
                <a:solidFill>
                  <a:srgbClr val="19417C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14 % всех случаев мошенничества совершаются путем возмещения расходов 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101627" y="1119991"/>
            <a:ext cx="4005566" cy="253915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rtl="0">
              <a:lnSpc>
                <a:spcPct val="150000"/>
              </a:lnSpc>
            </a:pPr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Организации пострадавших, которые </a:t>
            </a:r>
          </a:p>
          <a:p>
            <a:pPr algn="ctr" rtl="0">
              <a:lnSpc>
                <a:spcPct val="150000"/>
              </a:lnSpc>
            </a:pPr>
            <a:r>
              <a:rPr lang="ru-RU" b="1" i="0" u="none" strike="noStrike" dirty="0" smtId="4294967295">
                <a:solidFill>
                  <a:srgbClr val="5AAAFA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 имеют средств для борьбы с мошенничеством, </a:t>
            </a:r>
            <a:r>
              <a:rPr lang="ru-RU" b="0" i="0" u="none" strike="noStrike" dirty="0" smtId="4294967295">
                <a:solidFill>
                  <a:srgbClr val="5AAAFA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 </a:t>
            </a:r>
          </a:p>
          <a:p>
            <a:pPr algn="ctr" rtl="0">
              <a:lnSpc>
                <a:spcPct val="150000"/>
              </a:lnSpc>
            </a:pPr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В СРЕДНЕМ несут большие убытки –  </a:t>
            </a:r>
          </a:p>
          <a:p>
            <a:pPr algn="ctr" rtl="0">
              <a:lnSpc>
                <a:spcPct val="150000"/>
              </a:lnSpc>
            </a:pPr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фактически </a:t>
            </a:r>
          </a:p>
          <a:p>
            <a:pPr algn="ctr" rtl="0">
              <a:lnSpc>
                <a:spcPct val="150000"/>
              </a:lnSpc>
            </a:pPr>
            <a:r>
              <a:rPr lang="ru-RU" b="1" i="0" u="none" strike="noStrike" dirty="0" smtId="4294967295">
                <a:solidFill>
                  <a:srgbClr val="5AAAFA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В ДВА РАЗА БОЛЬШЕ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962039" y="1088188"/>
            <a:ext cx="5164345" cy="263312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noAutofit/>
          </a:bodyPr>
          <a:lstStyle/>
          <a:p>
            <a:pPr algn="ctr" rtl="0">
              <a:lnSpc>
                <a:spcPct val="90000"/>
              </a:lnSpc>
              <a:spcBef>
                <a:spcPts val="267"/>
              </a:spcBef>
            </a:pPr>
            <a:r>
              <a:rPr lang="ru-RU" sz="1400" b="1" i="0" u="none" strike="noStrike" dirty="0" smtId="4294967295">
                <a:solidFill>
                  <a:srgbClr val="80808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Наиболее распространенные случаи мошеннических требований о возмещении расходов</a:t>
            </a:r>
          </a:p>
        </p:txBody>
      </p:sp>
      <p:graphicFrame>
        <p:nvGraphicFramePr>
          <p:cNvPr id="24" name="Content Placeholder 5"/>
          <p:cNvGraphicFramePr/>
          <p:nvPr/>
        </p:nvGraphicFramePr>
        <p:xfrm>
          <a:off x="4832" y="1478178"/>
          <a:ext cx="1822922" cy="1615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89847" y="3158743"/>
            <a:ext cx="1652892" cy="91383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noAutofit/>
          </a:bodyPr>
          <a:lstStyle/>
          <a:p>
            <a:pPr algn="ctr" rtl="0">
              <a:lnSpc>
                <a:spcPct val="90000"/>
              </a:lnSpc>
              <a:spcBef>
                <a:spcPts val="267"/>
              </a:spcBef>
            </a:pPr>
            <a:r>
              <a:rPr lang="ru-RU" sz="1400" b="1" i="0" u="none" strike="noStrike" dirty="0" smtId="4294967295">
                <a:solidFill>
                  <a:srgbClr val="80808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Личные покупки, заявленные как коммерческие расход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40983" y="2130300"/>
            <a:ext cx="950620" cy="375232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algn="ctr" rtl="0">
              <a:lnSpc>
                <a:spcPct val="90000"/>
              </a:lnSpc>
              <a:spcBef>
                <a:spcPts val="267"/>
              </a:spcBef>
            </a:pPr>
            <a:r>
              <a:rPr lang="ru-RU" sz="2400" b="1" i="0" u="none" strike="noStrike" smtId="4294967295">
                <a:solidFill>
                  <a:srgbClr val="5AAAFA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45 %</a:t>
            </a:r>
          </a:p>
        </p:txBody>
      </p:sp>
      <p:graphicFrame>
        <p:nvGraphicFramePr>
          <p:cNvPr id="33" name="Content Placeholder 5"/>
          <p:cNvGraphicFramePr/>
          <p:nvPr/>
        </p:nvGraphicFramePr>
        <p:xfrm>
          <a:off x="2036691" y="1478178"/>
          <a:ext cx="1822922" cy="1615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2121706" y="3136366"/>
            <a:ext cx="1652892" cy="91383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noAutofit/>
          </a:bodyPr>
          <a:lstStyle/>
          <a:p>
            <a:pPr algn="ctr" rtl="0">
              <a:lnSpc>
                <a:spcPct val="90000"/>
              </a:lnSpc>
              <a:spcBef>
                <a:spcPts val="267"/>
              </a:spcBef>
            </a:pPr>
            <a:r>
              <a:rPr lang="ru-RU" sz="1400" b="1" i="0" u="none" strike="noStrike" smtId="4294967295">
                <a:solidFill>
                  <a:srgbClr val="80808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Дополнительные мил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472842" y="2130300"/>
            <a:ext cx="950620" cy="375232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algn="ctr" rtl="0">
              <a:lnSpc>
                <a:spcPct val="90000"/>
              </a:lnSpc>
              <a:spcBef>
                <a:spcPts val="267"/>
              </a:spcBef>
            </a:pPr>
            <a:r>
              <a:rPr lang="ru-RU" sz="2400" b="1" i="0" u="none" strike="noStrike" smtId="4294967295">
                <a:solidFill>
                  <a:srgbClr val="5AAAFA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35 %</a:t>
            </a:r>
          </a:p>
        </p:txBody>
      </p:sp>
      <p:graphicFrame>
        <p:nvGraphicFramePr>
          <p:cNvPr id="38" name="Content Placeholder 5"/>
          <p:cNvGraphicFramePr/>
          <p:nvPr/>
        </p:nvGraphicFramePr>
        <p:xfrm>
          <a:off x="4094130" y="1478178"/>
          <a:ext cx="1822922" cy="1615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179145" y="3113989"/>
            <a:ext cx="1652892" cy="91383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noAutofit/>
          </a:bodyPr>
          <a:lstStyle/>
          <a:p>
            <a:pPr algn="ctr" rtl="0">
              <a:lnSpc>
                <a:spcPct val="90000"/>
              </a:lnSpc>
              <a:spcBef>
                <a:spcPts val="267"/>
              </a:spcBef>
            </a:pPr>
            <a:r>
              <a:rPr lang="ru-RU" sz="1400" b="1" i="0" u="none" strike="noStrike" smtId="4294967295">
                <a:solidFill>
                  <a:srgbClr val="80808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Завышенные чаевые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530281" y="2130300"/>
            <a:ext cx="950620" cy="375232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algn="ctr" rtl="0">
              <a:lnSpc>
                <a:spcPct val="90000"/>
              </a:lnSpc>
              <a:spcBef>
                <a:spcPts val="267"/>
              </a:spcBef>
            </a:pPr>
            <a:r>
              <a:rPr lang="ru-RU" sz="2400" b="1" i="0" u="none" strike="noStrike" smtId="4294967295">
                <a:solidFill>
                  <a:srgbClr val="5AAAFA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29 %</a:t>
            </a:r>
          </a:p>
        </p:txBody>
      </p:sp>
      <p:graphicFrame>
        <p:nvGraphicFramePr>
          <p:cNvPr id="44" name="Content Placeholder 5"/>
          <p:cNvGraphicFramePr/>
          <p:nvPr/>
        </p:nvGraphicFramePr>
        <p:xfrm>
          <a:off x="6074374" y="1478178"/>
          <a:ext cx="1822922" cy="1615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6159389" y="3134465"/>
            <a:ext cx="1652892" cy="91383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noAutofit/>
          </a:bodyPr>
          <a:lstStyle/>
          <a:p>
            <a:pPr algn="ctr" rtl="0">
              <a:lnSpc>
                <a:spcPct val="90000"/>
              </a:lnSpc>
              <a:spcBef>
                <a:spcPts val="267"/>
              </a:spcBef>
            </a:pPr>
            <a:r>
              <a:rPr lang="ru-RU" sz="1400" b="1" i="0" u="none" strike="noStrike" smtId="4294967295">
                <a:solidFill>
                  <a:srgbClr val="808080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Завышение расходов на тот или иной товар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510525" y="2130300"/>
            <a:ext cx="950620" cy="375232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algn="ctr" rtl="0">
              <a:lnSpc>
                <a:spcPct val="90000"/>
              </a:lnSpc>
              <a:spcBef>
                <a:spcPts val="267"/>
              </a:spcBef>
            </a:pPr>
            <a:r>
              <a:rPr lang="ru-RU" sz="2400" b="1" i="0" u="none" strike="noStrike" smtId="4294967295">
                <a:solidFill>
                  <a:srgbClr val="5AAAFA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28 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903435" y="6243446"/>
            <a:ext cx="6878865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rtl="0"/>
            <a:r>
              <a:rPr lang="ru-RU" sz="1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Источник данных: </a:t>
            </a:r>
            <a:r>
              <a:rPr lang="ru-RU" sz="10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Chrome</a:t>
            </a:r>
            <a:r>
              <a:rPr lang="ru-RU" sz="1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 </a:t>
            </a:r>
            <a:r>
              <a:rPr lang="ru-RU" sz="10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River</a:t>
            </a:r>
            <a:r>
              <a:rPr lang="ru-RU" sz="1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 / Интернет-опрос </a:t>
            </a:r>
            <a:r>
              <a:rPr lang="ru-RU" sz="10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SurveyMonkey</a:t>
            </a:r>
            <a:r>
              <a:rPr lang="ru-RU" sz="1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 1072 командированных работников, проведенный в феврале 2016 г.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087625" y="4029553"/>
            <a:ext cx="6135261" cy="2107692"/>
            <a:chOff x="863362" y="2699543"/>
            <a:chExt cx="10348984" cy="3677267"/>
          </a:xfrm>
          <a:effectLst/>
        </p:grpSpPr>
        <p:sp>
          <p:nvSpPr>
            <p:cNvPr id="27" name="Trapezoid 26"/>
            <p:cNvSpPr/>
            <p:nvPr/>
          </p:nvSpPr>
          <p:spPr>
            <a:xfrm rot="16200000">
              <a:off x="7086665" y="2382387"/>
              <a:ext cx="3677266" cy="4311579"/>
            </a:xfrm>
            <a:prstGeom prst="trapezoid">
              <a:avLst/>
            </a:prstGeom>
            <a:solidFill>
              <a:srgbClr val="325C80"/>
            </a:solidFill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000">
                <a:solidFill>
                  <a:srgbClr val="FFFFFF"/>
                </a:solidFill>
                <a:effectLst/>
                <a:latin typeface="IBM Plex Sans" panose="020B0503050000000000" pitchFamily="34" charset="0"/>
                <a:cs typeface="Arial"/>
              </a:endParaRPr>
            </a:p>
          </p:txBody>
        </p:sp>
        <p:sp>
          <p:nvSpPr>
            <p:cNvPr id="28" name="Trapezoid 27"/>
            <p:cNvSpPr/>
            <p:nvPr/>
          </p:nvSpPr>
          <p:spPr>
            <a:xfrm rot="5400000">
              <a:off x="1263640" y="2380192"/>
              <a:ext cx="3677266" cy="4315968"/>
            </a:xfrm>
            <a:prstGeom prst="trapezoid">
              <a:avLst/>
            </a:prstGeom>
            <a:solidFill>
              <a:srgbClr val="325C80"/>
            </a:solidFill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US" sz="1000">
                <a:solidFill>
                  <a:srgbClr val="FFFFFF"/>
                </a:solidFill>
                <a:effectLst/>
                <a:latin typeface="IBM Plex Sans" panose="020B0503050000000000" pitchFamily="34" charset="0"/>
                <a:cs typeface="Arial"/>
              </a:endParaRPr>
            </a:p>
          </p:txBody>
        </p:sp>
        <p:sp>
          <p:nvSpPr>
            <p:cNvPr id="29" name="Freeform 3"/>
            <p:cNvSpPr/>
            <p:nvPr/>
          </p:nvSpPr>
          <p:spPr>
            <a:xfrm>
              <a:off x="4643993" y="3181330"/>
              <a:ext cx="2723535" cy="2677596"/>
            </a:xfrm>
            <a:custGeom>
              <a:avLst/>
              <a:gdLst>
                <a:gd name="connsiteX0" fmla="*/ 1076566 w 1076566"/>
                <a:gd name="connsiteY0" fmla="*/ 538277 h 1076566"/>
                <a:gd name="connsiteX1" fmla="*/ 538289 w 1076566"/>
                <a:gd name="connsiteY1" fmla="*/ 1076566 h 1076566"/>
                <a:gd name="connsiteX2" fmla="*/ 0 w 1076566"/>
                <a:gd name="connsiteY2" fmla="*/ 538277 h 1076566"/>
                <a:gd name="connsiteX3" fmla="*/ 538289 w 1076566"/>
                <a:gd name="connsiteY3" fmla="*/ 0 h 1076566"/>
                <a:gd name="connsiteX4" fmla="*/ 1076566 w 1076566"/>
                <a:gd name="connsiteY4" fmla="*/ 538277 h 1076566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1076566" h="1076566">
                  <a:moveTo>
                    <a:pt x="1076566" y="538277"/>
                  </a:moveTo>
                  <a:cubicBezTo>
                    <a:pt x="1076566" y="835558"/>
                    <a:pt x="835570" y="1076566"/>
                    <a:pt x="538289" y="1076566"/>
                  </a:cubicBezTo>
                  <a:cubicBezTo>
                    <a:pt x="241007" y="1076566"/>
                    <a:pt x="0" y="835558"/>
                    <a:pt x="0" y="538277"/>
                  </a:cubicBezTo>
                  <a:cubicBezTo>
                    <a:pt x="0" y="240995"/>
                    <a:pt x="241007" y="0"/>
                    <a:pt x="538289" y="0"/>
                  </a:cubicBezTo>
                  <a:cubicBezTo>
                    <a:pt x="835570" y="0"/>
                    <a:pt x="1076566" y="240995"/>
                    <a:pt x="1076566" y="538277"/>
                  </a:cubicBezTo>
                </a:path>
              </a:pathLst>
            </a:custGeom>
            <a:solidFill>
              <a:srgbClr val="FFFFFF"/>
            </a:solidFill>
            <a:ln w="12700" cap="flat" cmpd="sng" algn="ctr">
              <a:solidFill>
                <a:srgbClr val="000000">
                  <a:alpha val="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>
                  <a:effectLst/>
                </a:defRPr>
              </a:pPr>
              <a:endParaRPr kumimoji="0" lang="zh-CN" alt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黑体" panose="02010609060101010101" pitchFamily="49" charset="-122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963575" y="2885309"/>
              <a:ext cx="3156716" cy="1011394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rtl="0"/>
              <a:r>
                <a:rPr lang="ru-RU" sz="1600" b="1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Машинное обучение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863362" y="3832698"/>
              <a:ext cx="4003663" cy="209420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119063" indent="-119063" rtl="0">
                <a:buFont typeface="Wingdings" panose="05000000000000000000" pitchFamily="2" charset="2"/>
                <a:buChar char="§"/>
              </a:pPr>
              <a:r>
                <a:rPr lang="ru-RU" sz="1200" b="0" i="0" u="none" strike="noStrike" dirty="0" smtClean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Разработка мошеннических </a:t>
              </a:r>
              <a:r>
                <a:rPr lang="ru-RU" sz="1200" b="0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схем</a:t>
              </a:r>
            </a:p>
            <a:p>
              <a:pPr marL="119063" indent="-119063" rtl="0">
                <a:buFont typeface="Wingdings" panose="05000000000000000000" pitchFamily="2" charset="2"/>
                <a:buChar char="§"/>
              </a:pPr>
              <a:r>
                <a:rPr lang="ru-RU" sz="1200" b="0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Выявление слабых сигналов</a:t>
              </a:r>
            </a:p>
            <a:p>
              <a:pPr marL="119063" indent="-119063" rtl="0">
                <a:buFont typeface="Wingdings" panose="05000000000000000000" pitchFamily="2" charset="2"/>
                <a:buChar char="§"/>
              </a:pPr>
              <a:r>
                <a:rPr lang="ru-RU" sz="1200" b="0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Обучение на основе прошлых событий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465399" y="4130138"/>
              <a:ext cx="3308306" cy="144983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174625" indent="-174625" rtl="0">
                <a:buFont typeface="Wingdings" panose="05000000000000000000" pitchFamily="2" charset="2"/>
                <a:buChar char="§"/>
              </a:pPr>
              <a:r>
                <a:rPr lang="ru-RU" sz="1200" b="0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Юридические требования</a:t>
              </a:r>
            </a:p>
            <a:p>
              <a:pPr marL="174625" indent="-174625" rtl="0">
                <a:buFont typeface="Wingdings" panose="05000000000000000000" pitchFamily="2" charset="2"/>
                <a:buChar char="§"/>
              </a:pPr>
              <a:r>
                <a:rPr lang="ru-RU" sz="1200" b="0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Прозрачность</a:t>
              </a:r>
            </a:p>
            <a:p>
              <a:pPr marL="174625" indent="-174625" rtl="0">
                <a:buFont typeface="Wingdings" panose="05000000000000000000" pitchFamily="2" charset="2"/>
                <a:buChar char="§"/>
              </a:pPr>
              <a:r>
                <a:rPr lang="ru-RU" sz="1200" b="0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Подотчетность 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714012" y="3807583"/>
              <a:ext cx="2583496" cy="1288739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rtl="0"/>
              <a:r>
                <a:rPr lang="ru-RU" sz="1400" b="1" i="0" u="none" strike="noStrike" dirty="0" smtId="4294967295">
                  <a:solidFill>
                    <a:srgbClr val="325C8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Гибридная осмысленная модель риска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7498784" y="3399879"/>
              <a:ext cx="3713562" cy="59067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rtl="0"/>
              <a:r>
                <a:rPr lang="ru-RU" sz="1600" b="1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</a:rPr>
                <a:t>На основе прави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431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indefinite"/>
                            </p:stCond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4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399" y="231143"/>
            <a:ext cx="8324725" cy="475837"/>
          </a:xfrm>
          <a:effectLst/>
        </p:spPr>
        <p:txBody>
          <a:bodyPr anchor="t">
            <a:normAutofit/>
          </a:bodyPr>
          <a:lstStyle/>
          <a:p>
            <a:pPr rtl="0"/>
            <a:r>
              <a:rPr lang="ru-RU" sz="2600" b="1" i="0" u="none" strike="noStrike" smtId="4294967295">
                <a:solidFill>
                  <a:srgbClr val="19417C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Arial"/>
              </a:rPr>
              <a:t>Модель риска на основе Байесовской сети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solidFill>
                  <a:srgbClr val="464646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14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>
          <a:xfrm>
            <a:off x="3308095" y="5531779"/>
            <a:ext cx="1980792" cy="707426"/>
          </a:xfrm>
          <a:prstGeom prst="rect">
            <a:avLst/>
          </a:prstGeom>
          <a:solidFill>
            <a:srgbClr val="325C80"/>
          </a:solidFill>
          <a:ln w="9525">
            <a:noFill/>
            <a:miter lim="800000"/>
          </a:ln>
          <a:effectLst/>
        </p:spPr>
        <p:txBody>
          <a:bodyPr wrap="none" tIns="243840" bIns="24384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ea typeface="SimHei"/>
                <a:cs typeface="Arial"/>
              </a:rPr>
              <a:t>Риск</a:t>
            </a: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>
          <a:xfrm>
            <a:off x="5282802" y="5531779"/>
            <a:ext cx="1980792" cy="707426"/>
          </a:xfrm>
          <a:prstGeom prst="rect">
            <a:avLst/>
          </a:prstGeom>
          <a:solidFill>
            <a:srgbClr val="4178BE"/>
          </a:solidFill>
          <a:ln w="9525">
            <a:noFill/>
            <a:miter lim="800000"/>
          </a:ln>
          <a:effectLst/>
        </p:spPr>
        <p:txBody>
          <a:bodyPr wrap="none" tIns="243840" bIns="24384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ea typeface="SimHei"/>
                <a:cs typeface="Arial"/>
              </a:rPr>
              <a:t>Случаи применения</a:t>
            </a: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>
          <a:xfrm>
            <a:off x="7263594" y="5531779"/>
            <a:ext cx="1980792" cy="707426"/>
          </a:xfrm>
          <a:prstGeom prst="rect">
            <a:avLst/>
          </a:prstGeom>
          <a:solidFill>
            <a:srgbClr val="5596E6"/>
          </a:solidFill>
          <a:ln w="9525">
            <a:noFill/>
            <a:miter lim="800000"/>
          </a:ln>
          <a:effectLst/>
        </p:spPr>
        <p:txBody>
          <a:bodyPr wrap="none" tIns="243840" bIns="24384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ea typeface="SimHei"/>
                <a:cs typeface="Arial"/>
              </a:rPr>
              <a:t>Сценарии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>
          <a:xfrm>
            <a:off x="9236780" y="5531779"/>
            <a:ext cx="1980792" cy="707426"/>
          </a:xfrm>
          <a:prstGeom prst="rect">
            <a:avLst/>
          </a:prstGeom>
          <a:solidFill>
            <a:srgbClr val="5AAAFA"/>
          </a:solidFill>
          <a:ln w="9525">
            <a:noFill/>
            <a:miter lim="800000"/>
          </a:ln>
          <a:effectLst/>
        </p:spPr>
        <p:txBody>
          <a:bodyPr wrap="none" tIns="243840" bIns="24384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ea typeface="SimHei"/>
                <a:cs typeface="Arial"/>
              </a:rPr>
              <a:t>Особенности</a:t>
            </a:r>
          </a:p>
        </p:txBody>
      </p:sp>
      <p:sp>
        <p:nvSpPr>
          <p:cNvPr id="17" name="Freeform 3"/>
          <p:cNvSpPr/>
          <p:nvPr/>
        </p:nvSpPr>
        <p:spPr>
          <a:xfrm>
            <a:off x="3506084" y="3926805"/>
            <a:ext cx="1038656" cy="102113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325C80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591352" y="4114207"/>
            <a:ext cx="868119" cy="646331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algn="ctr" rtl="0"/>
            <a:r>
              <a:rPr lang="ru-RU" sz="12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Риск мошенничества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076668" y="2315360"/>
            <a:ext cx="1532728" cy="1021137"/>
            <a:chOff x="2158109" y="3298133"/>
            <a:chExt cx="1538625" cy="1319895"/>
          </a:xfrm>
          <a:solidFill>
            <a:srgbClr val="4178BE"/>
          </a:solidFill>
          <a:effectLst/>
        </p:grpSpPr>
        <p:sp>
          <p:nvSpPr>
            <p:cNvPr id="21" name="Freeform 3"/>
            <p:cNvSpPr/>
            <p:nvPr/>
          </p:nvSpPr>
          <p:spPr>
            <a:xfrm>
              <a:off x="2264891" y="3298133"/>
              <a:ext cx="1342540" cy="1319895"/>
            </a:xfrm>
            <a:custGeom>
              <a:avLst/>
              <a:gdLst>
                <a:gd name="connsiteX0" fmla="*/ 1076566 w 1076566"/>
                <a:gd name="connsiteY0" fmla="*/ 538277 h 1076566"/>
                <a:gd name="connsiteX1" fmla="*/ 538289 w 1076566"/>
                <a:gd name="connsiteY1" fmla="*/ 1076566 h 1076566"/>
                <a:gd name="connsiteX2" fmla="*/ 0 w 1076566"/>
                <a:gd name="connsiteY2" fmla="*/ 538277 h 1076566"/>
                <a:gd name="connsiteX3" fmla="*/ 538289 w 1076566"/>
                <a:gd name="connsiteY3" fmla="*/ 0 h 1076566"/>
                <a:gd name="connsiteX4" fmla="*/ 1076566 w 1076566"/>
                <a:gd name="connsiteY4" fmla="*/ 538277 h 1076566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1076566" h="1076566">
                  <a:moveTo>
                    <a:pt x="1076566" y="538277"/>
                  </a:moveTo>
                  <a:cubicBezTo>
                    <a:pt x="1076566" y="835558"/>
                    <a:pt x="835570" y="1076566"/>
                    <a:pt x="538289" y="1076566"/>
                  </a:cubicBezTo>
                  <a:cubicBezTo>
                    <a:pt x="241007" y="1076566"/>
                    <a:pt x="0" y="835558"/>
                    <a:pt x="0" y="538277"/>
                  </a:cubicBezTo>
                  <a:cubicBezTo>
                    <a:pt x="0" y="240995"/>
                    <a:pt x="241007" y="0"/>
                    <a:pt x="538289" y="0"/>
                  </a:cubicBezTo>
                  <a:cubicBezTo>
                    <a:pt x="835570" y="0"/>
                    <a:pt x="1076566" y="240995"/>
                    <a:pt x="1076566" y="538277"/>
                  </a:cubicBezTo>
                </a:path>
              </a:pathLst>
            </a:custGeom>
            <a:grpFill/>
            <a:ln w="12700" cap="flat" cmpd="sng" algn="ctr">
              <a:solidFill>
                <a:srgbClr val="000000">
                  <a:alpha val="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>
                  <a:effectLst/>
                </a:defRPr>
              </a:pPr>
              <a:endParaRPr kumimoji="0" lang="zh-CN" alt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黑体" panose="02010609060101010101" pitchFamily="49" charset="-122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158109" y="3701562"/>
              <a:ext cx="1538625" cy="556953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rtl="0"/>
              <a:r>
                <a:rPr lang="ru-RU" sz="1100" b="0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  <a:cs typeface="Grubhub Sans Bold"/>
                </a:rPr>
                <a:t>Вымышленные расходы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076668" y="3928552"/>
            <a:ext cx="1506645" cy="1021137"/>
            <a:chOff x="2135307" y="3298133"/>
            <a:chExt cx="1554126" cy="1319895"/>
          </a:xfrm>
          <a:solidFill>
            <a:srgbClr val="4178BE"/>
          </a:solidFill>
          <a:effectLst/>
        </p:grpSpPr>
        <p:sp>
          <p:nvSpPr>
            <p:cNvPr id="24" name="Freeform 3"/>
            <p:cNvSpPr/>
            <p:nvPr/>
          </p:nvSpPr>
          <p:spPr>
            <a:xfrm>
              <a:off x="2239133" y="3298133"/>
              <a:ext cx="1342540" cy="1319895"/>
            </a:xfrm>
            <a:custGeom>
              <a:avLst/>
              <a:gdLst>
                <a:gd name="connsiteX0" fmla="*/ 1076566 w 1076566"/>
                <a:gd name="connsiteY0" fmla="*/ 538277 h 1076566"/>
                <a:gd name="connsiteX1" fmla="*/ 538289 w 1076566"/>
                <a:gd name="connsiteY1" fmla="*/ 1076566 h 1076566"/>
                <a:gd name="connsiteX2" fmla="*/ 0 w 1076566"/>
                <a:gd name="connsiteY2" fmla="*/ 538277 h 1076566"/>
                <a:gd name="connsiteX3" fmla="*/ 538289 w 1076566"/>
                <a:gd name="connsiteY3" fmla="*/ 0 h 1076566"/>
                <a:gd name="connsiteX4" fmla="*/ 1076566 w 1076566"/>
                <a:gd name="connsiteY4" fmla="*/ 538277 h 1076566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1076566" h="1076566">
                  <a:moveTo>
                    <a:pt x="1076566" y="538277"/>
                  </a:moveTo>
                  <a:cubicBezTo>
                    <a:pt x="1076566" y="835558"/>
                    <a:pt x="835570" y="1076566"/>
                    <a:pt x="538289" y="1076566"/>
                  </a:cubicBezTo>
                  <a:cubicBezTo>
                    <a:pt x="241007" y="1076566"/>
                    <a:pt x="0" y="835558"/>
                    <a:pt x="0" y="538277"/>
                  </a:cubicBezTo>
                  <a:cubicBezTo>
                    <a:pt x="0" y="240995"/>
                    <a:pt x="241007" y="0"/>
                    <a:pt x="538289" y="0"/>
                  </a:cubicBezTo>
                  <a:cubicBezTo>
                    <a:pt x="835570" y="0"/>
                    <a:pt x="1076566" y="240995"/>
                    <a:pt x="1076566" y="538277"/>
                  </a:cubicBezTo>
                </a:path>
              </a:pathLst>
            </a:custGeom>
            <a:grpFill/>
            <a:ln w="12700" cap="flat" cmpd="sng" algn="ctr">
              <a:solidFill>
                <a:srgbClr val="000000">
                  <a:alpha val="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>
                  <a:effectLst/>
                </a:defRPr>
              </a:pPr>
              <a:endParaRPr kumimoji="0" lang="zh-CN" altLang="en-US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" panose="020B0503050000000000" pitchFamily="34" charset="0"/>
                <a:ea typeface="黑体" panose="02010609060101010101" pitchFamily="49" charset="-122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135307" y="3694646"/>
              <a:ext cx="1554126" cy="556953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rtl="0"/>
              <a:r>
                <a:rPr lang="ru-RU" sz="1100" b="0" i="0" u="none" strike="noStrike" dirty="0" smtId="4294967295">
                  <a:solidFill>
                    <a:srgbClr val="FFFFFF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IBM Plex Sans"/>
                  <a:cs typeface="Grubhub Sans Bold"/>
                </a:rPr>
                <a:t>Ненадлежащие расходы</a:t>
              </a:r>
            </a:p>
          </p:txBody>
        </p:sp>
      </p:grpSp>
      <p:sp>
        <p:nvSpPr>
          <p:cNvPr id="36" name="Freeform 3"/>
          <p:cNvSpPr/>
          <p:nvPr/>
        </p:nvSpPr>
        <p:spPr>
          <a:xfrm>
            <a:off x="9548603" y="4540582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39" name="Freeform 3"/>
          <p:cNvSpPr/>
          <p:nvPr/>
        </p:nvSpPr>
        <p:spPr>
          <a:xfrm>
            <a:off x="7581110" y="1797016"/>
            <a:ext cx="859747" cy="85974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596E6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42" name="Freeform 3"/>
          <p:cNvSpPr/>
          <p:nvPr/>
        </p:nvSpPr>
        <p:spPr>
          <a:xfrm>
            <a:off x="7583031" y="3671201"/>
            <a:ext cx="859747" cy="85974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596E6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cxnSp>
        <p:nvCxnSpPr>
          <p:cNvPr id="45" name="Straight Arrow Connector 44"/>
          <p:cNvCxnSpPr>
            <a:stCxn id="21" idx="2"/>
            <a:endCxn id="17" idx="0"/>
          </p:cNvCxnSpPr>
          <p:nvPr/>
        </p:nvCxnSpPr>
        <p:spPr>
          <a:xfrm flipH="1">
            <a:off x="4544740" y="2825923"/>
            <a:ext cx="638301" cy="1611445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25" idx="1"/>
            <a:endCxn id="17" idx="0"/>
          </p:cNvCxnSpPr>
          <p:nvPr/>
        </p:nvCxnSpPr>
        <p:spPr>
          <a:xfrm flipH="1" flipV="1">
            <a:off x="4544740" y="4437368"/>
            <a:ext cx="531928" cy="13390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Freeform 3"/>
          <p:cNvSpPr/>
          <p:nvPr/>
        </p:nvSpPr>
        <p:spPr>
          <a:xfrm>
            <a:off x="7578931" y="2734109"/>
            <a:ext cx="859747" cy="85974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596E6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578502" y="1949459"/>
            <a:ext cx="860607" cy="461665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algn="ctr" rtl="0"/>
            <a:r>
              <a:rPr lang="ru-RU" sz="8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Объединение денежных средств</a:t>
            </a:r>
          </a:p>
        </p:txBody>
      </p:sp>
      <p:sp>
        <p:nvSpPr>
          <p:cNvPr id="56" name="Freeform 3"/>
          <p:cNvSpPr/>
          <p:nvPr/>
        </p:nvSpPr>
        <p:spPr>
          <a:xfrm>
            <a:off x="7578931" y="4608293"/>
            <a:ext cx="859747" cy="859747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596E6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7574184" y="2946452"/>
            <a:ext cx="860607" cy="338554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algn="ctr" rtl="0"/>
            <a:r>
              <a:rPr lang="ru-RU" sz="8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Необычные расходы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580678" y="3853723"/>
            <a:ext cx="860607" cy="461665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algn="ctr" rtl="0"/>
            <a:r>
              <a:rPr lang="ru-RU" sz="8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Неделовое </a:t>
            </a:r>
          </a:p>
          <a:p>
            <a:pPr algn="ctr" rtl="0"/>
            <a:r>
              <a:rPr lang="ru-RU" sz="8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Место проведения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7585481" y="4841789"/>
            <a:ext cx="860607" cy="338554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algn="ctr" rtl="0"/>
            <a:r>
              <a:rPr lang="ru-RU" sz="8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Заведение для взрослых</a:t>
            </a:r>
          </a:p>
        </p:txBody>
      </p:sp>
      <p:sp>
        <p:nvSpPr>
          <p:cNvPr id="60" name="Freeform 3"/>
          <p:cNvSpPr/>
          <p:nvPr/>
        </p:nvSpPr>
        <p:spPr>
          <a:xfrm>
            <a:off x="9548603" y="5022707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1" name="Freeform 3"/>
          <p:cNvSpPr/>
          <p:nvPr/>
        </p:nvSpPr>
        <p:spPr>
          <a:xfrm>
            <a:off x="9548603" y="4058459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2" name="Freeform 3"/>
          <p:cNvSpPr/>
          <p:nvPr/>
        </p:nvSpPr>
        <p:spPr>
          <a:xfrm>
            <a:off x="9548603" y="3576336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3" name="Freeform 3"/>
          <p:cNvSpPr/>
          <p:nvPr/>
        </p:nvSpPr>
        <p:spPr>
          <a:xfrm>
            <a:off x="9548603" y="3094214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4" name="Freeform 3"/>
          <p:cNvSpPr/>
          <p:nvPr/>
        </p:nvSpPr>
        <p:spPr>
          <a:xfrm>
            <a:off x="9548603" y="2612091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5" name="Freeform 3"/>
          <p:cNvSpPr/>
          <p:nvPr/>
        </p:nvSpPr>
        <p:spPr>
          <a:xfrm>
            <a:off x="9548603" y="2129969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sp>
        <p:nvSpPr>
          <p:cNvPr id="66" name="Freeform 3"/>
          <p:cNvSpPr/>
          <p:nvPr/>
        </p:nvSpPr>
        <p:spPr>
          <a:xfrm>
            <a:off x="9548603" y="1647846"/>
            <a:ext cx="353713" cy="353713"/>
          </a:xfrm>
          <a:custGeom>
            <a:avLst/>
            <a:gdLst>
              <a:gd name="connsiteX0" fmla="*/ 1076566 w 1076566"/>
              <a:gd name="connsiteY0" fmla="*/ 538277 h 1076566"/>
              <a:gd name="connsiteX1" fmla="*/ 538289 w 1076566"/>
              <a:gd name="connsiteY1" fmla="*/ 1076566 h 1076566"/>
              <a:gd name="connsiteX2" fmla="*/ 0 w 1076566"/>
              <a:gd name="connsiteY2" fmla="*/ 538277 h 1076566"/>
              <a:gd name="connsiteX3" fmla="*/ 538289 w 1076566"/>
              <a:gd name="connsiteY3" fmla="*/ 0 h 1076566"/>
              <a:gd name="connsiteX4" fmla="*/ 1076566 w 1076566"/>
              <a:gd name="connsiteY4" fmla="*/ 538277 h 1076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076566" h="1076566">
                <a:moveTo>
                  <a:pt x="1076566" y="538277"/>
                </a:moveTo>
                <a:cubicBezTo>
                  <a:pt x="1076566" y="835558"/>
                  <a:pt x="835570" y="1076566"/>
                  <a:pt x="538289" y="1076566"/>
                </a:cubicBezTo>
                <a:cubicBezTo>
                  <a:pt x="241007" y="1076566"/>
                  <a:pt x="0" y="835558"/>
                  <a:pt x="0" y="538277"/>
                </a:cubicBezTo>
                <a:cubicBezTo>
                  <a:pt x="0" y="240995"/>
                  <a:pt x="241007" y="0"/>
                  <a:pt x="538289" y="0"/>
                </a:cubicBezTo>
                <a:cubicBezTo>
                  <a:pt x="835570" y="0"/>
                  <a:pt x="1076566" y="240995"/>
                  <a:pt x="1076566" y="538277"/>
                </a:cubicBezTo>
              </a:path>
            </a:pathLst>
          </a:custGeom>
          <a:solidFill>
            <a:srgbClr val="5AAAFA"/>
          </a:solidFill>
          <a:ln w="12700" cap="flat" cmpd="sng" algn="ctr">
            <a:solidFill>
              <a:srgbClr val="000000">
                <a:alpha val="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endParaRPr kumimoji="0" lang="zh-CN" alt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" panose="020B0503050000000000" pitchFamily="34" charset="0"/>
              <a:ea typeface="黑体" panose="02010609060101010101" pitchFamily="49" charset="-122"/>
            </a:endParaRPr>
          </a:p>
        </p:txBody>
      </p:sp>
      <p:cxnSp>
        <p:nvCxnSpPr>
          <p:cNvPr id="67" name="Straight Arrow Connector 66"/>
          <p:cNvCxnSpPr>
            <a:stCxn id="56" idx="2"/>
          </p:cNvCxnSpPr>
          <p:nvPr/>
        </p:nvCxnSpPr>
        <p:spPr>
          <a:xfrm flipH="1" flipV="1">
            <a:off x="6488027" y="4437368"/>
            <a:ext cx="1090904" cy="600794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stCxn id="42" idx="2"/>
          </p:cNvCxnSpPr>
          <p:nvPr/>
        </p:nvCxnSpPr>
        <p:spPr>
          <a:xfrm flipH="1">
            <a:off x="6488027" y="4101070"/>
            <a:ext cx="1095004" cy="308541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stCxn id="55" idx="1"/>
            <a:endCxn id="21" idx="0"/>
          </p:cNvCxnSpPr>
          <p:nvPr/>
        </p:nvCxnSpPr>
        <p:spPr>
          <a:xfrm flipH="1">
            <a:off x="6520436" y="2180292"/>
            <a:ext cx="1058066" cy="645631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57" idx="1"/>
            <a:endCxn id="21" idx="0"/>
          </p:cNvCxnSpPr>
          <p:nvPr/>
        </p:nvCxnSpPr>
        <p:spPr>
          <a:xfrm flipH="1" flipV="1">
            <a:off x="6520436" y="2825923"/>
            <a:ext cx="1053748" cy="289806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>
            <a:stCxn id="63" idx="2"/>
            <a:endCxn id="54" idx="0"/>
          </p:cNvCxnSpPr>
          <p:nvPr/>
        </p:nvCxnSpPr>
        <p:spPr>
          <a:xfrm flipH="1" flipV="1">
            <a:off x="8438678" y="3163978"/>
            <a:ext cx="1109925" cy="107091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>
            <a:stCxn id="64" idx="2"/>
            <a:endCxn id="57" idx="3"/>
          </p:cNvCxnSpPr>
          <p:nvPr/>
        </p:nvCxnSpPr>
        <p:spPr>
          <a:xfrm flipH="1">
            <a:off x="8434791" y="2788946"/>
            <a:ext cx="1113812" cy="326783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>
            <a:stCxn id="62" idx="2"/>
            <a:endCxn id="58" idx="3"/>
          </p:cNvCxnSpPr>
          <p:nvPr/>
        </p:nvCxnSpPr>
        <p:spPr>
          <a:xfrm flipH="1">
            <a:off x="8441285" y="3753191"/>
            <a:ext cx="1107318" cy="331365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/>
          <p:cNvCxnSpPr>
            <a:stCxn id="61" idx="2"/>
            <a:endCxn id="42" idx="0"/>
          </p:cNvCxnSpPr>
          <p:nvPr/>
        </p:nvCxnSpPr>
        <p:spPr>
          <a:xfrm flipH="1" flipV="1">
            <a:off x="8442778" y="4101070"/>
            <a:ext cx="1105825" cy="134244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>
            <a:stCxn id="36" idx="2"/>
            <a:endCxn id="59" idx="3"/>
          </p:cNvCxnSpPr>
          <p:nvPr/>
        </p:nvCxnSpPr>
        <p:spPr>
          <a:xfrm flipH="1">
            <a:off x="8446088" y="4717437"/>
            <a:ext cx="1102515" cy="293629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>
            <a:stCxn id="60" idx="2"/>
            <a:endCxn id="59" idx="3"/>
          </p:cNvCxnSpPr>
          <p:nvPr/>
        </p:nvCxnSpPr>
        <p:spPr>
          <a:xfrm flipH="1" flipV="1">
            <a:off x="8446088" y="5011066"/>
            <a:ext cx="1102515" cy="188496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stCxn id="66" idx="2"/>
            <a:endCxn id="55" idx="3"/>
          </p:cNvCxnSpPr>
          <p:nvPr/>
        </p:nvCxnSpPr>
        <p:spPr>
          <a:xfrm flipH="1">
            <a:off x="8439109" y="1824701"/>
            <a:ext cx="1109494" cy="355591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/>
          <p:cNvCxnSpPr>
            <a:stCxn id="65" idx="2"/>
            <a:endCxn id="39" idx="0"/>
          </p:cNvCxnSpPr>
          <p:nvPr/>
        </p:nvCxnSpPr>
        <p:spPr>
          <a:xfrm flipH="1" flipV="1">
            <a:off x="8440857" y="2226885"/>
            <a:ext cx="1107746" cy="79939"/>
          </a:xfrm>
          <a:prstGeom prst="straightConnector1">
            <a:avLst/>
          </a:prstGeom>
          <a:ln w="19050">
            <a:solidFill>
              <a:srgbClr val="90909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>
            <a:off x="9922478" y="1609257"/>
            <a:ext cx="2269522" cy="430887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rtl="0"/>
            <a:r>
              <a:rPr lang="ru-RU" sz="11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Чрезмерное использование денежных средств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922478" y="2187830"/>
            <a:ext cx="2269522" cy="261610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rtl="0"/>
            <a:r>
              <a:rPr lang="ru-RU" sz="11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Итого денежных средств за год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9922478" y="2578257"/>
            <a:ext cx="1949939" cy="430887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rtl="0"/>
            <a:r>
              <a:rPr lang="ru-RU" sz="11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Выходящее за рамки обычных трат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9922478" y="3134251"/>
            <a:ext cx="1478593" cy="261610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rtl="0"/>
            <a:r>
              <a:rPr lang="ru-RU" sz="11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Редкие расходы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9922478" y="3601993"/>
            <a:ext cx="1478593" cy="261610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rtl="0"/>
            <a:r>
              <a:rPr lang="ru-RU" sz="11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Транзитный счет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9922478" y="5070990"/>
            <a:ext cx="1478593" cy="261610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rtl="0"/>
            <a:r>
              <a:rPr lang="ru-RU" sz="11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Место расходов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9922478" y="4580395"/>
            <a:ext cx="1478593" cy="261610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rtl="0"/>
            <a:r>
              <a:rPr lang="ru-RU" sz="11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Черный список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9922478" y="4011711"/>
            <a:ext cx="1478593" cy="430887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rtl="0"/>
            <a:r>
              <a:rPr lang="ru-RU" sz="11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  <a:cs typeface="Grubhub Sans Bold"/>
              </a:rPr>
              <a:t>Предметы личного обихода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862184" y="6584296"/>
            <a:ext cx="4764403" cy="24408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Примечание: представленная сеть предназначена только для иллюстрации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4400" y="1591043"/>
            <a:ext cx="4902106" cy="267765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Инструменты анализа затрат используют передовые сетевые модели для выявления сценариев </a:t>
            </a:r>
            <a:r>
              <a:rPr lang="ru-RU" sz="2800" b="0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мошенничества</a:t>
            </a:r>
            <a:endParaRPr lang="ru-RU" sz="2800" b="0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IBM Plex Sans"/>
            </a:endParaRPr>
          </a:p>
        </p:txBody>
      </p:sp>
    </p:spTree>
    <p:extLst>
      <p:ext uri="{BB962C8B-B14F-4D97-AF65-F5344CB8AC3E}">
        <p14:creationId xmlns:p14="http://schemas.microsoft.com/office/powerpoint/2010/main" val="15454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effectLst/>
        </p:spPr>
        <p:txBody>
          <a:bodyPr>
            <a:normAutofit/>
          </a:bodyPr>
          <a:lstStyle/>
          <a:p>
            <a:pPr rtl="0"/>
            <a:r>
              <a:rPr lang="ru-RU" sz="3600" b="1" i="1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Как оценивать систему внутреннего контроля</a:t>
            </a:r>
          </a:p>
          <a:p>
            <a:pPr rtl="0"/>
            <a:r>
              <a:rPr lang="ru-RU" sz="3600" b="1" i="1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 в цифровой среде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858000" y="4978400"/>
            <a:ext cx="4814449" cy="1743075"/>
          </a:xfrm>
          <a:effectLst/>
        </p:spPr>
        <p:txBody>
          <a:bodyPr/>
          <a:lstStyle/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Скотт </a:t>
            </a:r>
            <a:r>
              <a:rPr lang="ru-RU" sz="1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Лейтон</a:t>
            </a:r>
            <a:endParaRPr lang="ru-RU" sz="1600" b="0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Calibri"/>
            </a:endParaRP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Вице-президент, старший партнер</a:t>
            </a: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"</a:t>
            </a:r>
            <a:r>
              <a:rPr lang="ru-RU" sz="1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Глобал</a:t>
            </a:r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ru-RU" sz="1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Файнэнс</a:t>
            </a:r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ru-RU" sz="1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Трансформэйшн</a:t>
            </a:r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"</a:t>
            </a: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IBM</a:t>
            </a:r>
          </a:p>
          <a:p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9362213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3074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99" r="1809"/>
          <a:stretch>
            <a:fillRect/>
          </a:stretch>
        </p:blipFill>
        <p:spPr>
          <a:xfrm>
            <a:off x="7036126" y="0"/>
            <a:ext cx="5166759" cy="6858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1" t="-173" r="53264" b="89610"/>
          <a:stretch>
            <a:fillRect/>
          </a:stretch>
        </p:blipFill>
        <p:spPr>
          <a:xfrm>
            <a:off x="5985206" y="-11874"/>
            <a:ext cx="899686" cy="72439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61" t="12468" r="53034" b="76969"/>
          <a:stretch>
            <a:fillRect/>
          </a:stretch>
        </p:blipFill>
        <p:spPr>
          <a:xfrm>
            <a:off x="5985206" y="839407"/>
            <a:ext cx="899686" cy="72439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46" t="24763" r="53149" b="64674"/>
          <a:stretch>
            <a:fillRect/>
          </a:stretch>
        </p:blipFill>
        <p:spPr>
          <a:xfrm>
            <a:off x="5985206" y="1705490"/>
            <a:ext cx="899686" cy="72439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46" t="37058" r="53149" b="52379"/>
          <a:stretch>
            <a:fillRect/>
          </a:stretch>
        </p:blipFill>
        <p:spPr>
          <a:xfrm>
            <a:off x="5985206" y="2552951"/>
            <a:ext cx="899686" cy="72439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46" t="49699" r="53149" b="39738"/>
          <a:stretch>
            <a:fillRect/>
          </a:stretch>
        </p:blipFill>
        <p:spPr>
          <a:xfrm>
            <a:off x="5985206" y="3406090"/>
            <a:ext cx="899686" cy="72439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61" t="61647" r="53034" b="27790"/>
          <a:stretch>
            <a:fillRect/>
          </a:stretch>
        </p:blipFill>
        <p:spPr>
          <a:xfrm>
            <a:off x="5985206" y="4262494"/>
            <a:ext cx="899686" cy="72439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46" t="74461" r="53149" b="14976"/>
          <a:stretch>
            <a:fillRect/>
          </a:stretch>
        </p:blipFill>
        <p:spPr>
          <a:xfrm>
            <a:off x="5985206" y="5107023"/>
            <a:ext cx="899686" cy="72439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61" t="86928" r="53034" b="2509"/>
          <a:stretch>
            <a:fillRect/>
          </a:stretch>
        </p:blipFill>
        <p:spPr>
          <a:xfrm>
            <a:off x="5985206" y="5951552"/>
            <a:ext cx="899686" cy="72439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Isosceles Triangle 100"/>
          <p:cNvSpPr/>
          <p:nvPr/>
        </p:nvSpPr>
        <p:spPr>
          <a:xfrm rot="10800000">
            <a:off x="6883458" y="6473399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03" name="Isosceles Triangle 102"/>
          <p:cNvSpPr/>
          <p:nvPr/>
        </p:nvSpPr>
        <p:spPr>
          <a:xfrm>
            <a:off x="6870501" y="-50559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6895650" y="292853"/>
            <a:ext cx="304966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07" name="Isosceles Triangle 106"/>
          <p:cNvSpPr/>
          <p:nvPr/>
        </p:nvSpPr>
        <p:spPr>
          <a:xfrm rot="10800000">
            <a:off x="6869067" y="439358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08" name="Isosceles Triangle 107"/>
          <p:cNvSpPr/>
          <p:nvPr/>
        </p:nvSpPr>
        <p:spPr>
          <a:xfrm>
            <a:off x="6858309" y="728404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6895650" y="1078314"/>
            <a:ext cx="293044" cy="2283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0" name="Isosceles Triangle 109"/>
          <p:cNvSpPr/>
          <p:nvPr/>
        </p:nvSpPr>
        <p:spPr>
          <a:xfrm rot="10800000">
            <a:off x="6869067" y="1290888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1" name="Isosceles Triangle 110"/>
          <p:cNvSpPr/>
          <p:nvPr/>
        </p:nvSpPr>
        <p:spPr>
          <a:xfrm>
            <a:off x="6870501" y="1653086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6959158" y="2008690"/>
            <a:ext cx="233402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3" name="Isosceles Triangle 112"/>
          <p:cNvSpPr/>
          <p:nvPr/>
        </p:nvSpPr>
        <p:spPr>
          <a:xfrm rot="10800000">
            <a:off x="6867633" y="2151955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4" name="Isosceles Triangle 113"/>
          <p:cNvSpPr/>
          <p:nvPr/>
        </p:nvSpPr>
        <p:spPr>
          <a:xfrm>
            <a:off x="6869067" y="2514153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6895650" y="2857565"/>
            <a:ext cx="295476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6" name="Isosceles Triangle 115"/>
          <p:cNvSpPr/>
          <p:nvPr/>
        </p:nvSpPr>
        <p:spPr>
          <a:xfrm rot="10800000">
            <a:off x="6867633" y="2994076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7" name="Isosceles Triangle 116"/>
          <p:cNvSpPr/>
          <p:nvPr/>
        </p:nvSpPr>
        <p:spPr>
          <a:xfrm>
            <a:off x="6869067" y="3356274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6895650" y="3699686"/>
            <a:ext cx="295476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19" name="Isosceles Triangle 118"/>
          <p:cNvSpPr/>
          <p:nvPr/>
        </p:nvSpPr>
        <p:spPr>
          <a:xfrm rot="10800000">
            <a:off x="6867633" y="3825143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20" name="Isosceles Triangle 119"/>
          <p:cNvSpPr/>
          <p:nvPr/>
        </p:nvSpPr>
        <p:spPr>
          <a:xfrm>
            <a:off x="6869067" y="4187341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6895650" y="4537251"/>
            <a:ext cx="295476" cy="1589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22" name="Isosceles Triangle 121"/>
          <p:cNvSpPr/>
          <p:nvPr/>
        </p:nvSpPr>
        <p:spPr>
          <a:xfrm rot="10800000">
            <a:off x="6875596" y="4693853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23" name="Isosceles Triangle 122"/>
          <p:cNvSpPr/>
          <p:nvPr/>
        </p:nvSpPr>
        <p:spPr>
          <a:xfrm>
            <a:off x="6877030" y="5056051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6959157" y="5394753"/>
            <a:ext cx="237429" cy="1418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25" name="Isosceles Triangle 124"/>
          <p:cNvSpPr/>
          <p:nvPr/>
        </p:nvSpPr>
        <p:spPr>
          <a:xfrm rot="10800000">
            <a:off x="6867633" y="5541355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26" name="Isosceles Triangle 125"/>
          <p:cNvSpPr/>
          <p:nvPr/>
        </p:nvSpPr>
        <p:spPr>
          <a:xfrm>
            <a:off x="6869067" y="5903553"/>
            <a:ext cx="321061" cy="34873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6959156" y="6263750"/>
            <a:ext cx="231969" cy="2041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pic>
        <p:nvPicPr>
          <p:cNvPr id="135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96" t="7952" r="62513" b="84657"/>
          <a:stretch>
            <a:fillRect/>
          </a:stretch>
        </p:blipFill>
        <p:spPr>
          <a:xfrm>
            <a:off x="5281410" y="541523"/>
            <a:ext cx="629530" cy="50687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96" t="19685" r="62513" b="72924"/>
          <a:stretch>
            <a:fillRect/>
          </a:stretch>
        </p:blipFill>
        <p:spPr>
          <a:xfrm>
            <a:off x="5281410" y="1390711"/>
            <a:ext cx="629530" cy="50687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60" t="32663" r="62749" b="59946"/>
          <a:stretch>
            <a:fillRect/>
          </a:stretch>
        </p:blipFill>
        <p:spPr>
          <a:xfrm>
            <a:off x="5281410" y="2239899"/>
            <a:ext cx="629530" cy="50687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32" t="45108" r="62277" b="47501"/>
          <a:stretch>
            <a:fillRect/>
          </a:stretch>
        </p:blipFill>
        <p:spPr>
          <a:xfrm>
            <a:off x="5281410" y="3089087"/>
            <a:ext cx="629530" cy="50687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14" t="57908" r="62395" b="34701"/>
          <a:stretch>
            <a:fillRect/>
          </a:stretch>
        </p:blipFill>
        <p:spPr>
          <a:xfrm>
            <a:off x="5281410" y="3938275"/>
            <a:ext cx="629530" cy="50687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42" t="69997" r="62867" b="22612"/>
          <a:stretch>
            <a:fillRect/>
          </a:stretch>
        </p:blipFill>
        <p:spPr>
          <a:xfrm>
            <a:off x="5270863" y="4787463"/>
            <a:ext cx="629530" cy="50687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78" t="82263" r="62631" b="10346"/>
          <a:stretch>
            <a:fillRect/>
          </a:stretch>
        </p:blipFill>
        <p:spPr>
          <a:xfrm>
            <a:off x="5270863" y="5636653"/>
            <a:ext cx="629530" cy="506874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57" t="15837" r="69057" b="79447"/>
          <a:stretch>
            <a:fillRect/>
          </a:stretch>
        </p:blipFill>
        <p:spPr>
          <a:xfrm>
            <a:off x="4826511" y="1076182"/>
            <a:ext cx="401680" cy="323418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7" t="28132" r="69287" b="67152"/>
          <a:stretch>
            <a:fillRect/>
          </a:stretch>
        </p:blipFill>
        <p:spPr>
          <a:xfrm>
            <a:off x="4826511" y="1912127"/>
            <a:ext cx="401680" cy="323418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2" t="40426" r="69172" b="54858"/>
          <a:stretch>
            <a:fillRect/>
          </a:stretch>
        </p:blipFill>
        <p:spPr>
          <a:xfrm>
            <a:off x="4826511" y="2787682"/>
            <a:ext cx="401680" cy="323418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2" t="53413" r="69172" b="41871"/>
          <a:stretch>
            <a:fillRect/>
          </a:stretch>
        </p:blipFill>
        <p:spPr>
          <a:xfrm>
            <a:off x="4826511" y="3639684"/>
            <a:ext cx="401680" cy="323418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7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7" t="64669" r="69287" b="30615"/>
          <a:stretch>
            <a:fillRect/>
          </a:stretch>
        </p:blipFill>
        <p:spPr>
          <a:xfrm>
            <a:off x="4826511" y="4455007"/>
            <a:ext cx="401680" cy="323418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2" t="78002" r="69172" b="17282"/>
          <a:stretch>
            <a:fillRect/>
          </a:stretch>
        </p:blipFill>
        <p:spPr>
          <a:xfrm>
            <a:off x="4826511" y="5341317"/>
            <a:ext cx="401680" cy="323418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1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94" t="15837" r="69770" b="81570"/>
          <a:stretch>
            <a:fillRect/>
          </a:stretch>
        </p:blipFill>
        <p:spPr>
          <a:xfrm>
            <a:off x="4438045" y="1546079"/>
            <a:ext cx="220832" cy="177806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35046" r="74824" b="62361"/>
          <a:stretch>
            <a:fillRect/>
          </a:stretch>
        </p:blipFill>
        <p:spPr>
          <a:xfrm>
            <a:off x="4438045" y="2489621"/>
            <a:ext cx="220832" cy="177806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40" t="47745" r="74824" b="49662"/>
          <a:stretch>
            <a:fillRect/>
          </a:stretch>
        </p:blipFill>
        <p:spPr>
          <a:xfrm>
            <a:off x="4438045" y="3271773"/>
            <a:ext cx="220832" cy="177806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50" t="61080" r="74614" b="36327"/>
          <a:stretch>
            <a:fillRect/>
          </a:stretch>
        </p:blipFill>
        <p:spPr>
          <a:xfrm>
            <a:off x="4438045" y="4130484"/>
            <a:ext cx="220832" cy="177806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61" t="72510" r="74403" b="24897"/>
          <a:stretch>
            <a:fillRect/>
          </a:stretch>
        </p:blipFill>
        <p:spPr>
          <a:xfrm>
            <a:off x="4438045" y="4967148"/>
            <a:ext cx="220832" cy="177806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486" y="365125"/>
            <a:ext cx="11963399" cy="1325563"/>
          </a:xfrm>
          <a:effectLst/>
        </p:spPr>
        <p:txBody>
          <a:bodyPr>
            <a:normAutofit/>
          </a:bodyPr>
          <a:lstStyle/>
          <a:p>
            <a:pPr rtl="0"/>
            <a:r>
              <a:rPr lang="ru-RU" sz="3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Пересечение миров цифрового </a:t>
            </a:r>
            <a:r>
              <a:rPr lang="ru-RU" sz="36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и аналогового следа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1912802" y="2782125"/>
            <a:ext cx="1845313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Текучесть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1912802" y="4159355"/>
            <a:ext cx="1680332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Разрывы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1889131" y="5197592"/>
            <a:ext cx="2548914" cy="138499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Легкость восприятия материала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1815137" y="1404895"/>
            <a:ext cx="2506712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Двойной след</a:t>
            </a:r>
          </a:p>
        </p:txBody>
      </p:sp>
      <p:sp>
        <p:nvSpPr>
          <p:cNvPr id="3073" name="Rectangle 3072"/>
          <p:cNvSpPr/>
          <p:nvPr/>
        </p:nvSpPr>
        <p:spPr>
          <a:xfrm>
            <a:off x="5050971" y="0"/>
            <a:ext cx="1807338" cy="1275411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</a:endParaRPr>
          </a:p>
        </p:txBody>
      </p:sp>
      <p:pic>
        <p:nvPicPr>
          <p:cNvPr id="176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7" t="28592" r="74897" b="68815"/>
          <a:stretch>
            <a:fillRect/>
          </a:stretch>
        </p:blipFill>
        <p:spPr>
          <a:xfrm>
            <a:off x="4438045" y="1964411"/>
            <a:ext cx="220832" cy="177806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7" t="41347" r="74897" b="56060"/>
          <a:stretch>
            <a:fillRect/>
          </a:stretch>
        </p:blipFill>
        <p:spPr>
          <a:xfrm>
            <a:off x="4438045" y="2859126"/>
            <a:ext cx="220832" cy="177806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7" t="53716" r="74897" b="43691"/>
          <a:stretch>
            <a:fillRect/>
          </a:stretch>
        </p:blipFill>
        <p:spPr>
          <a:xfrm>
            <a:off x="4438045" y="3697759"/>
            <a:ext cx="220832" cy="177806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" name="Picture 2" descr="Forest Landscap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95" t="65505" r="74769" b="31902"/>
          <a:stretch>
            <a:fillRect/>
          </a:stretch>
        </p:blipFill>
        <p:spPr>
          <a:xfrm>
            <a:off x="4438045" y="4515619"/>
            <a:ext cx="220832" cy="177806"/>
          </a:xfrm>
          <a:prstGeom prst="hexagon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s://static.thenounproject.com/png/2184171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302" y="1332574"/>
            <a:ext cx="809643" cy="80964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s://static.thenounproject.com/png/949838-20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302" y="2616547"/>
            <a:ext cx="809643" cy="80964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https://static.thenounproject.com/png/2230390-20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302" y="5351615"/>
            <a:ext cx="809643" cy="80964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https://static.thenounproject.com/png/2230311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302" y="3857672"/>
            <a:ext cx="809643" cy="80964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361282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95" b="7158"/>
          <a:stretch>
            <a:fillRect/>
          </a:stretch>
        </p:blipFill>
        <p:spPr>
          <a:xfrm>
            <a:off x="2545950" y="1"/>
            <a:ext cx="9903605" cy="6868885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9995" y="-52328"/>
            <a:ext cx="10515600" cy="1325563"/>
          </a:xfrm>
          <a:effectLst/>
        </p:spPr>
        <p:txBody>
          <a:bodyPr/>
          <a:lstStyle/>
          <a:p>
            <a:pPr rtl="0"/>
            <a:r>
              <a:rPr lang="ru-RU" sz="4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Аудит </a:t>
            </a:r>
            <a:r>
              <a:rPr lang="ru-RU" sz="44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черного ящика</a:t>
            </a:r>
          </a:p>
        </p:txBody>
      </p:sp>
      <p:pic>
        <p:nvPicPr>
          <p:cNvPr id="1028" name="Picture 4" descr="https://static.thenounproject.com/png/2010152-2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434" y="3416996"/>
            <a:ext cx="889454" cy="88945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static.thenounproject.com/png/1949823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31" y="2203638"/>
            <a:ext cx="889454" cy="88945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static.thenounproject.com/png/1870321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31" y="1192282"/>
            <a:ext cx="889454" cy="88945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static.thenounproject.com/png/2288303-200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434" y="5529783"/>
            <a:ext cx="889454" cy="88945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static.thenounproject.com/png/2891550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434" y="4482834"/>
            <a:ext cx="889454" cy="88945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916111" y="5707359"/>
            <a:ext cx="1978732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Блокчейн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16111" y="3512799"/>
            <a:ext cx="5101289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Искусственный интеллект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916111" y="4610078"/>
            <a:ext cx="1598940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Облако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916111" y="2415519"/>
            <a:ext cx="4089040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Машинное обучени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16111" y="1318239"/>
            <a:ext cx="2275891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Алгоритмы</a:t>
            </a:r>
          </a:p>
        </p:txBody>
      </p:sp>
    </p:spTree>
    <p:extLst>
      <p:ext uri="{BB962C8B-B14F-4D97-AF65-F5344CB8AC3E}">
        <p14:creationId xmlns:p14="http://schemas.microsoft.com/office/powerpoint/2010/main" val="247410773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10246" name="Picture 6" descr="943081444.jpg"/>
          <p:cNvPicPr>
            <a:picLocks noChangeAspect="1" noChangeArrowheads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t="14428" r="-652" b="40085"/>
          <a:stretch>
            <a:fillRect/>
          </a:stretch>
        </p:blipFill>
        <p:spPr>
          <a:xfrm>
            <a:off x="-1" y="3132628"/>
            <a:ext cx="12270391" cy="371874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3197227"/>
            <a:ext cx="5427134" cy="1951718"/>
          </a:xfrm>
          <a:effectLst/>
        </p:spPr>
        <p:txBody>
          <a:bodyPr>
            <a:noAutofit/>
          </a:bodyPr>
          <a:lstStyle/>
          <a:p>
            <a:pPr lvl="1" rtl="0"/>
            <a:r>
              <a:rPr lang="ru-RU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ИТ и системные инструменты</a:t>
            </a:r>
          </a:p>
          <a:p>
            <a:pPr lvl="1" rtl="0"/>
            <a:r>
              <a:rPr lang="ru-RU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авыки программирования машинного интерфейса/искусственного интеллекта</a:t>
            </a:r>
          </a:p>
          <a:p>
            <a:pPr lvl="1" rtl="0"/>
            <a:r>
              <a:rPr lang="ru-RU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Эффективное использование озер данных</a:t>
            </a:r>
          </a:p>
          <a:p>
            <a:pPr lvl="1" rtl="0"/>
            <a:r>
              <a:rPr lang="ru-RU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Извлечение данных</a:t>
            </a:r>
          </a:p>
        </p:txBody>
      </p:sp>
      <p:sp>
        <p:nvSpPr>
          <p:cNvPr id="4" name="Content Placeholder 2"/>
          <p:cNvSpPr txBox="1"/>
          <p:nvPr/>
        </p:nvSpPr>
        <p:spPr>
          <a:xfrm>
            <a:off x="6096000" y="3197227"/>
            <a:ext cx="5410200" cy="1816781"/>
          </a:xfrm>
          <a:prstGeom prst="rect">
            <a:avLst/>
          </a:prstGeom>
          <a:effectLst/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Инструменты аудита на базе искусственного интеллекта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Индикаторы риска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Выборка на основе рисков, выявленных искусственным интеллектом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Демократизация технологий</a:t>
            </a:r>
          </a:p>
          <a:p>
            <a:pPr lvl="1"/>
            <a:endParaRPr lang="en-US" dirty="0">
              <a:effectLst/>
              <a:latin typeface="IBM Plex Sans" panose="020B0503050000000000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37115" y="2172205"/>
            <a:ext cx="1559213" cy="51867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8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авыки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51372" y="2172205"/>
            <a:ext cx="2598476" cy="518678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8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Инструменты</a:t>
            </a:r>
          </a:p>
        </p:txBody>
      </p:sp>
      <p:sp>
        <p:nvSpPr>
          <p:cNvPr id="11" name="Title 1"/>
          <p:cNvSpPr txBox="1"/>
          <p:nvPr/>
        </p:nvSpPr>
        <p:spPr>
          <a:xfrm>
            <a:off x="272142" y="256270"/>
            <a:ext cx="10515600" cy="875846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ru-RU" sz="4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Цифровой аудитор</a:t>
            </a:r>
          </a:p>
        </p:txBody>
      </p:sp>
      <p:pic>
        <p:nvPicPr>
          <p:cNvPr id="10242" name="Picture 2" descr="https://static.thenounproject.com/png/2208154-2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905" y="1630305"/>
            <a:ext cx="1277038" cy="127703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https://static.thenounproject.com/png/2174219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9586" y="1763972"/>
            <a:ext cx="1102298" cy="110229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414865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pPr rtl="0"/>
            <a:r>
              <a:rPr lang="ru-RU" sz="60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Calibri Light"/>
              </a:rPr>
              <a:t>Передовые практики составления отчетов по внутреннему аудиту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pPr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15 минут - презентация</a:t>
            </a:r>
          </a:p>
          <a:p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02131987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2064" name="Picture 16" descr="A4 Paper Ream Spread Out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6668" y="1291"/>
            <a:ext cx="10095222" cy="684582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408908" y="-132668"/>
            <a:ext cx="10515600" cy="1325563"/>
          </a:xfrm>
          <a:effectLst/>
        </p:spPr>
        <p:txBody>
          <a:bodyPr/>
          <a:lstStyle/>
          <a:p>
            <a:pPr rtl="0"/>
            <a:r>
              <a:rPr lang="ru-RU" sz="4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Цели </a:t>
            </a:r>
            <a:r>
              <a:rPr lang="ru-RU" sz="4400" b="0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аудиторского заключения</a:t>
            </a:r>
          </a:p>
        </p:txBody>
      </p:sp>
      <p:pic>
        <p:nvPicPr>
          <p:cNvPr id="15" name="Picture 2" descr="https://static.thenounproject.com/png/1327175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908" y="987335"/>
            <a:ext cx="794658" cy="79465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https://static.thenounproject.com/png/2122595-20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908" y="1943618"/>
            <a:ext cx="794658" cy="79465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s://static.thenounproject.com/png/1899451-20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908" y="2899901"/>
            <a:ext cx="794658" cy="79465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https://static.thenounproject.com/png/1105855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908" y="3856184"/>
            <a:ext cx="794658" cy="79465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https://static.thenounproject.com/png/1326847-2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908" y="4812467"/>
            <a:ext cx="794658" cy="79465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4" descr="https://static.thenounproject.com/png/2416876-20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908" y="5768750"/>
            <a:ext cx="794658" cy="79465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3369530" y="1174509"/>
            <a:ext cx="4135124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Обеспечение гарантий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369530" y="2048559"/>
            <a:ext cx="6377327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Обмен результатами исследований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369530" y="2994454"/>
            <a:ext cx="4670647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Создание плана действий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369530" y="4036119"/>
            <a:ext cx="4271785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Независимый контроль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369529" y="5042495"/>
            <a:ext cx="5541466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Предоставление консультаций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369529" y="5964968"/>
            <a:ext cx="6221596" cy="579699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32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Calibri"/>
              </a:rPr>
              <a:t>Оценка количественного контроля</a:t>
            </a:r>
          </a:p>
        </p:txBody>
      </p:sp>
    </p:spTree>
    <p:extLst>
      <p:ext uri="{BB962C8B-B14F-4D97-AF65-F5344CB8AC3E}">
        <p14:creationId xmlns:p14="http://schemas.microsoft.com/office/powerpoint/2010/main" val="268620181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9230" name="Picture 14" descr="68349392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4" r="48312"/>
          <a:stretch>
            <a:fillRect/>
          </a:stretch>
        </p:blipFill>
        <p:spPr>
          <a:xfrm>
            <a:off x="8256104" y="0"/>
            <a:ext cx="3944989" cy="6858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35430" y="4212772"/>
            <a:ext cx="2701767" cy="39663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0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Аудиторский комитет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32500" y="1113571"/>
            <a:ext cx="2684287" cy="39663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0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Высшее руководство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231510" y="4424859"/>
            <a:ext cx="2932184" cy="39663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0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Команда специалистов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351263" y="2564846"/>
            <a:ext cx="3712876" cy="70788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2000" b="1" i="0" u="none" strike="noStrike" dirty="0" smtId="4294967295">
                <a:solidFill>
                  <a:schemeClr val="bg1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Руководитель аудиторской </a:t>
            </a:r>
            <a:endParaRPr lang="ru-RU" sz="2000" b="1" i="0" u="none" strike="noStrike" dirty="0" smtClean="0" smtId="4294967295">
              <a:solidFill>
                <a:schemeClr val="bg1"/>
              </a:solidFill>
              <a:effectLst/>
              <a:highlight>
                <a:srgbClr val="000000">
                  <a:alpha val="0"/>
                </a:srgbClr>
              </a:highlight>
              <a:latin typeface="IBM Plex Sans"/>
            </a:endParaRPr>
          </a:p>
          <a:p>
            <a:pPr rtl="0"/>
            <a:r>
              <a:rPr lang="ru-RU" sz="2000" b="1" i="0" u="none" strike="noStrike" dirty="0" smtClean="0" smtId="4294967295">
                <a:solidFill>
                  <a:schemeClr val="bg1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комиссии</a:t>
            </a:r>
            <a:endParaRPr lang="ru-RU" sz="2000" b="1" i="0" u="none" strike="noStrike" dirty="0" smtId="4294967295">
              <a:solidFill>
                <a:schemeClr val="bg1"/>
              </a:solidFill>
              <a:effectLst/>
              <a:highlight>
                <a:srgbClr val="000000">
                  <a:alpha val="0"/>
                </a:srgbClr>
              </a:highlight>
              <a:latin typeface="IBM Plex Sans"/>
            </a:endParaRPr>
          </a:p>
        </p:txBody>
      </p:sp>
      <p:sp>
        <p:nvSpPr>
          <p:cNvPr id="19" name="Title 1"/>
          <p:cNvSpPr txBox="1"/>
          <p:nvPr/>
        </p:nvSpPr>
        <p:spPr>
          <a:xfrm>
            <a:off x="272142" y="256270"/>
            <a:ext cx="10515600" cy="875846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ru-RU" sz="4400" b="0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 Согласование аудитории</a:t>
            </a:r>
            <a:endParaRPr lang="ru-RU" sz="4400" b="0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IBM Plex San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5857" y="4603876"/>
            <a:ext cx="2258714" cy="180011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rtl="0"/>
            <a:r>
              <a:rPr lang="ru-RU" sz="16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Мнения / сводные отчеты</a:t>
            </a:r>
          </a:p>
          <a:p>
            <a:endParaRPr lang="en-US" sz="1600" i="1" dirty="0">
              <a:effectLst/>
              <a:latin typeface="IBM Plex Sans" panose="020B0503050000000000" pitchFamily="34" charset="0"/>
            </a:endParaRP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порные вопросы</a:t>
            </a: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Значительные дефекты</a:t>
            </a: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Гарантии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32499" y="1495136"/>
            <a:ext cx="2883920" cy="131195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rtl="0"/>
            <a:r>
              <a:rPr lang="ru-RU" sz="16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Мнения / сводные отчеты</a:t>
            </a:r>
          </a:p>
          <a:p>
            <a:endParaRPr lang="en-US" sz="1600" i="1" dirty="0">
              <a:effectLst/>
              <a:latin typeface="IBM Plex Sans" panose="020B0503050000000000" pitchFamily="34" charset="0"/>
            </a:endParaRP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порные вопросы</a:t>
            </a: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Значительные дефекты</a:t>
            </a: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Гаранти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385913" y="3482512"/>
            <a:ext cx="2258713" cy="204420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rtl="0"/>
            <a:r>
              <a:rPr lang="ru-RU" sz="1600" b="1" i="1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Мнение / результаты исследований</a:t>
            </a:r>
          </a:p>
          <a:p>
            <a:endParaRPr lang="en-US" sz="1600" b="1" i="1" dirty="0">
              <a:solidFill>
                <a:schemeClr val="bg1"/>
              </a:solidFill>
              <a:effectLst/>
              <a:latin typeface="IBM Plex Sans" panose="020B0503050000000000" pitchFamily="34" charset="0"/>
            </a:endParaRPr>
          </a:p>
          <a:p>
            <a:pPr rtl="0"/>
            <a:r>
              <a:rPr lang="ru-RU" sz="1600" b="1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Темы, связанные с риском</a:t>
            </a:r>
          </a:p>
          <a:p>
            <a:pPr rtl="0"/>
            <a:r>
              <a:rPr lang="ru-RU" sz="1600" b="1" i="0" u="none" strike="noStrike" dirty="0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Гарантии</a:t>
            </a:r>
          </a:p>
          <a:p>
            <a:endParaRPr lang="en-US" sz="1600" b="1" dirty="0">
              <a:solidFill>
                <a:schemeClr val="bg1"/>
              </a:solidFill>
              <a:effectLst/>
              <a:latin typeface="IBM Plex Sans" panose="020B0503050000000000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231510" y="4834490"/>
            <a:ext cx="3024594" cy="180011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rtl="0"/>
            <a:r>
              <a:rPr lang="ru-RU" sz="16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Мнение / результаты исследований / рекомендации</a:t>
            </a:r>
          </a:p>
          <a:p>
            <a:endParaRPr lang="en-US" sz="1600" i="1" dirty="0">
              <a:effectLst/>
              <a:latin typeface="IBM Plex Sans" panose="020B0503050000000000" pitchFamily="34" charset="0"/>
            </a:endParaRP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Результаты аудиторской проверки</a:t>
            </a:r>
          </a:p>
          <a:p>
            <a:pPr rtl="0"/>
            <a:r>
              <a:rPr lang="ru-RU" sz="1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Рекомендации консультантов</a:t>
            </a:r>
          </a:p>
        </p:txBody>
      </p:sp>
      <p:sp>
        <p:nvSpPr>
          <p:cNvPr id="26" name="Right Arrow 25"/>
          <p:cNvSpPr/>
          <p:nvPr/>
        </p:nvSpPr>
        <p:spPr>
          <a:xfrm>
            <a:off x="5332499" y="3474176"/>
            <a:ext cx="959444" cy="403688"/>
          </a:xfrm>
          <a:prstGeom prst="rightArrow">
            <a:avLst/>
          </a:prstGeom>
          <a:solidFill>
            <a:srgbClr val="AEB3AD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27" name="Right Arrow 26"/>
          <p:cNvSpPr/>
          <p:nvPr/>
        </p:nvSpPr>
        <p:spPr>
          <a:xfrm rot="10800000">
            <a:off x="2485339" y="3474176"/>
            <a:ext cx="959444" cy="403688"/>
          </a:xfrm>
          <a:prstGeom prst="rightArrow">
            <a:avLst/>
          </a:prstGeom>
          <a:solidFill>
            <a:srgbClr val="AEB3AD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29" name="Down Arrow 28"/>
          <p:cNvSpPr/>
          <p:nvPr/>
        </p:nvSpPr>
        <p:spPr>
          <a:xfrm>
            <a:off x="4211803" y="4212771"/>
            <a:ext cx="359229" cy="593180"/>
          </a:xfrm>
          <a:prstGeom prst="downArrow">
            <a:avLst/>
          </a:prstGeom>
          <a:solidFill>
            <a:srgbClr val="AEB3AD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30" name="Down Arrow 29"/>
          <p:cNvSpPr/>
          <p:nvPr/>
        </p:nvSpPr>
        <p:spPr>
          <a:xfrm rot="10800000">
            <a:off x="4211803" y="2515913"/>
            <a:ext cx="359229" cy="593180"/>
          </a:xfrm>
          <a:prstGeom prst="downArrow">
            <a:avLst/>
          </a:prstGeom>
          <a:solidFill>
            <a:srgbClr val="AEB3AD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pic>
        <p:nvPicPr>
          <p:cNvPr id="9218" name="Picture 2" descr="https://static.thenounproject.com/png/2048410-2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954" y="3091207"/>
            <a:ext cx="1238320" cy="123832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https://static.thenounproject.com/png/1073930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0017" y="5010369"/>
            <a:ext cx="1219200" cy="12192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https://static.thenounproject.com/png/1073917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7034" y="1334534"/>
            <a:ext cx="1028228" cy="102822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https://static.thenounproject.com/png/2588257-200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647" y="3097081"/>
            <a:ext cx="1157878" cy="115787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 descr="https://static.thenounproject.com/png/2120955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9852" y="3188606"/>
            <a:ext cx="906069" cy="90606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1389712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8196" name="Picture 4" descr="Pen on Pap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987"/>
          <a:stretch>
            <a:fillRect/>
          </a:stretch>
        </p:blipFill>
        <p:spPr>
          <a:xfrm>
            <a:off x="8803328" y="0"/>
            <a:ext cx="3401925" cy="687125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 txBox="1"/>
          <p:nvPr/>
        </p:nvSpPr>
        <p:spPr>
          <a:xfrm>
            <a:off x="236928" y="103703"/>
            <a:ext cx="10515600" cy="875846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ru-RU" sz="4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оставление передовых практик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469571" y="1444234"/>
            <a:ext cx="1401191" cy="1937657"/>
          </a:xfrm>
          <a:prstGeom prst="round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469571" y="2410566"/>
            <a:ext cx="1390304" cy="6463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rtl="0"/>
            <a:r>
              <a:rPr lang="ru-RU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Официальная программа обуче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3282" y="4022132"/>
            <a:ext cx="3654205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8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Внутренняя </a:t>
            </a:r>
            <a:r>
              <a:rPr lang="ru-RU" sz="1800" b="1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огласованность</a:t>
            </a:r>
            <a:endParaRPr lang="ru-RU" sz="1800" b="1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IBM Plex San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63390" y="4624563"/>
            <a:ext cx="1182599" cy="36612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Контроль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0860" y="5485454"/>
            <a:ext cx="2798701" cy="36612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Дефект или Исполнение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859875" y="4637243"/>
            <a:ext cx="1727656" cy="36612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Первопричин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108440" y="5485454"/>
            <a:ext cx="1746725" cy="36612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Рекомендации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660573" y="4657148"/>
            <a:ext cx="1009388" cy="366126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rtl="0"/>
            <a:r>
              <a:rPr lang="ru-RU" sz="1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Мнение</a:t>
            </a:r>
          </a:p>
        </p:txBody>
      </p:sp>
      <p:sp>
        <p:nvSpPr>
          <p:cNvPr id="19" name="Right Arrow 18"/>
          <p:cNvSpPr/>
          <p:nvPr/>
        </p:nvSpPr>
        <p:spPr>
          <a:xfrm>
            <a:off x="3047999" y="2253343"/>
            <a:ext cx="373064" cy="348343"/>
          </a:xfrm>
          <a:prstGeom prst="rightArrow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3532987" y="1444234"/>
            <a:ext cx="3118563" cy="1991003"/>
          </a:xfrm>
          <a:prstGeom prst="round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742360" y="1602717"/>
            <a:ext cx="2422907" cy="30777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 rtl="0"/>
            <a:r>
              <a:rPr lang="ru-RU" sz="1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Анализ на верхнем уровне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3417" y="1883229"/>
            <a:ext cx="1427580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rtl="0"/>
            <a:r>
              <a:rPr lang="ru-RU" sz="20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Процесс анализа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047831" y="949941"/>
            <a:ext cx="3118588" cy="5697833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 выполнено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лабо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 существует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Отсутствует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эффективно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одержит ошибки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 обнаружено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 работает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 соответствует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Чрезмерно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достаточно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Содержит противоречия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постоянная эффективность</a:t>
            </a:r>
          </a:p>
          <a:p>
            <a:pPr rtl="0">
              <a:spcAft>
                <a:spcPts val="900"/>
              </a:spcAft>
            </a:pPr>
            <a:r>
              <a:rPr lang="ru-RU" sz="1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Не всегда эффективно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>
            <a:off x="1436914" y="4993895"/>
            <a:ext cx="341367" cy="491559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V="1">
            <a:off x="2800561" y="4993895"/>
            <a:ext cx="484400" cy="491559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4067781" y="5026479"/>
            <a:ext cx="321179" cy="390969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V="1">
            <a:off x="5570120" y="5026479"/>
            <a:ext cx="495489" cy="439071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Down Arrow 41"/>
          <p:cNvSpPr/>
          <p:nvPr/>
        </p:nvSpPr>
        <p:spPr>
          <a:xfrm rot="10800000">
            <a:off x="7500109" y="2464808"/>
            <a:ext cx="272143" cy="348343"/>
          </a:xfrm>
          <a:prstGeom prst="downArrow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  <a:latin typeface="IBM Plex Sans" panose="020B0503050000000000" pitchFamily="34" charset="0"/>
            </a:endParaRPr>
          </a:p>
        </p:txBody>
      </p:sp>
      <p:pic>
        <p:nvPicPr>
          <p:cNvPr id="44" name="Picture 8" descr="https://static.thenounproject.com/png/2588257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841" y="1596211"/>
            <a:ext cx="785320" cy="78532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 descr="https://static.thenounproject.com/png/1266558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2733" y="1432840"/>
            <a:ext cx="1006895" cy="100689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6651550" y="861341"/>
            <a:ext cx="2112944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rtl="0"/>
            <a:r>
              <a:rPr lang="ru-RU" sz="1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Обеспечение качества</a:t>
            </a:r>
          </a:p>
        </p:txBody>
      </p:sp>
      <p:pic>
        <p:nvPicPr>
          <p:cNvPr id="31" name="Picture 10" descr="https://static.thenounproject.com/png/2120955-200.png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EFBB18BA-F36B-4976-9599-6C0BD294F7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9192" y="2050053"/>
            <a:ext cx="906069" cy="90606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D81A94E9-9000-4AE9-88F3-A9FFD8A54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8326" y="2070240"/>
            <a:ext cx="935513" cy="93551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7D93E6D2-0497-4D4E-B93E-51D1A566D8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7453" y="2202108"/>
            <a:ext cx="697275" cy="69727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4097E154-47D3-4D58-89DC-FC46A316D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1320" y="2882653"/>
            <a:ext cx="1049721" cy="104972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="" xmlns:a16="http://schemas.microsoft.com/office/drawing/2014/main" xmlns:p15="http://schemas.microsoft.com/office/powerpoint/2012/main" xmlns:p14="http://schemas.microsoft.com/office/powerpoint/2010/main" id="{8DB541A1-C421-4DFA-8A15-4BAAC4C81D90}"/>
              </a:ext>
            </a:extLst>
          </p:cNvPr>
          <p:cNvSpPr txBox="1"/>
          <p:nvPr/>
        </p:nvSpPr>
        <p:spPr>
          <a:xfrm>
            <a:off x="6945857" y="3932374"/>
            <a:ext cx="1380646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rtl="0"/>
            <a:r>
              <a:rPr lang="ru-RU" sz="1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IBM Plex Sans"/>
              </a:rPr>
              <a:t>Технологии</a:t>
            </a:r>
          </a:p>
        </p:txBody>
      </p:sp>
    </p:spTree>
    <p:extLst>
      <p:ext uri="{BB962C8B-B14F-4D97-AF65-F5344CB8AC3E}">
        <p14:creationId xmlns:p14="http://schemas.microsoft.com/office/powerpoint/2010/main" val="268728770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5.05.12"/>
  <p:tag name="AS_TITLE" val="Aspose.Slides for .NET 4.0 Client Profile"/>
  <p:tag name="AS_VERSION" val="15.4.0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34</TotalTime>
  <Words>695</Words>
  <Application>Microsoft Office PowerPoint</Application>
  <PresentationFormat>Широкоэкранный</PresentationFormat>
  <Paragraphs>209</Paragraphs>
  <Slides>1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5" baseType="lpstr">
      <vt:lpstr>MS PGothic</vt:lpstr>
      <vt:lpstr>SimHei</vt:lpstr>
      <vt:lpstr>SimHei</vt:lpstr>
      <vt:lpstr>Arial</vt:lpstr>
      <vt:lpstr>Calibri</vt:lpstr>
      <vt:lpstr>Calibri Light</vt:lpstr>
      <vt:lpstr>Grubhub Sans Bold</vt:lpstr>
      <vt:lpstr>IBM Plex Sans</vt:lpstr>
      <vt:lpstr>Wingdings</vt:lpstr>
      <vt:lpstr>Office Theme</vt:lpstr>
      <vt:lpstr>think-cell Slide</vt:lpstr>
      <vt:lpstr>Презентация PowerPoint</vt:lpstr>
      <vt:lpstr>Презентация PowerPoint</vt:lpstr>
      <vt:lpstr>Пересечение миров цифрового и аналогового следа</vt:lpstr>
      <vt:lpstr>Аудит черного ящика</vt:lpstr>
      <vt:lpstr>Презентация PowerPoint</vt:lpstr>
      <vt:lpstr>Передовые практики составления отчетов по внутреннему аудиту</vt:lpstr>
      <vt:lpstr>Цели аудиторского заключения</vt:lpstr>
      <vt:lpstr>Презентация PowerPoint</vt:lpstr>
      <vt:lpstr>Презентация PowerPoint</vt:lpstr>
      <vt:lpstr>Передовые практики по борьбе с мошенничеством и коррупцией</vt:lpstr>
      <vt:lpstr>Презентация PowerPoint</vt:lpstr>
      <vt:lpstr>Презентация PowerPoint</vt:lpstr>
      <vt:lpstr>Презентация PowerPoint</vt:lpstr>
      <vt:lpstr>Модель риска на основе Байесовской сети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Assess Internal Controls in a Digital Environment</dc:title>
  <dc:creator>Scott Layton</dc:creator>
  <cp:lastModifiedBy>Valeriya Aivazova</cp:lastModifiedBy>
  <cp:revision>47</cp:revision>
  <dcterms:created xsi:type="dcterms:W3CDTF">2019-10-07T16:54:39Z</dcterms:created>
  <dcterms:modified xsi:type="dcterms:W3CDTF">2019-10-23T11:07:27Z</dcterms:modified>
</cp:coreProperties>
</file>